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4"/>
  </p:sldMasterIdLst>
  <p:notesMasterIdLst>
    <p:notesMasterId r:id="rId12"/>
  </p:notesMasterIdLst>
  <p:sldIdLst>
    <p:sldId id="289" r:id="rId5"/>
    <p:sldId id="297" r:id="rId6"/>
    <p:sldId id="290" r:id="rId7"/>
    <p:sldId id="291" r:id="rId8"/>
    <p:sldId id="293" r:id="rId9"/>
    <p:sldId id="295" r:id="rId10"/>
    <p:sldId id="296" r:id="rId11"/>
  </p:sldIdLst>
  <p:sldSz cx="12192000" cy="6858000"/>
  <p:notesSz cx="6858000" cy="9144000"/>
  <p:custDataLst>
    <p:tags r:id="rId13"/>
  </p:custDataLst>
  <p:defaultTextStyle>
    <a:defPPr lvl="0">
      <a:defRPr lang="de-DE"/>
    </a:defPPr>
    <a:lvl1pPr marL="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9CCC"/>
    <a:srgbClr val="FFFFFF"/>
    <a:srgbClr val="E33272"/>
    <a:srgbClr val="EE84AA"/>
    <a:srgbClr val="BB275D"/>
    <a:srgbClr val="C4BD97"/>
    <a:srgbClr val="DDD9C3"/>
    <a:srgbClr val="97529C"/>
    <a:srgbClr val="7F7F7F"/>
    <a:srgbClr val="D258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08" autoAdjust="0"/>
    <p:restoredTop sz="94660"/>
  </p:normalViewPr>
  <p:slideViewPr>
    <p:cSldViewPr snapToGrid="0">
      <p:cViewPr varScale="1">
        <p:scale>
          <a:sx n="82" d="100"/>
          <a:sy n="82" d="100"/>
        </p:scale>
        <p:origin x="120" y="5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CE0BB8-A326-429F-A594-0E3DD11B0FA6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5F64E49C-400F-482F-932E-690765A0C022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Morgens</a:t>
          </a:r>
          <a:br>
            <a:rPr lang="de-CH" dirty="0"/>
          </a:br>
          <a:r>
            <a:rPr lang="de-CH" dirty="0"/>
            <a:t>von…</a:t>
          </a:r>
        </a:p>
      </dgm:t>
    </dgm:pt>
    <dgm:pt modelId="{E7A869FA-B721-4559-BE01-F1BA13137AB7}" type="parTrans" cxnId="{9358F153-9621-4120-95A3-EC58203B3C68}">
      <dgm:prSet/>
      <dgm:spPr/>
      <dgm:t>
        <a:bodyPr/>
        <a:lstStyle/>
        <a:p>
          <a:endParaRPr lang="de-CH"/>
        </a:p>
      </dgm:t>
    </dgm:pt>
    <dgm:pt modelId="{46EC8EFC-639E-447F-95F7-0175CA34EDC5}" type="sibTrans" cxnId="{9358F153-9621-4120-95A3-EC58203B3C68}">
      <dgm:prSet/>
      <dgm:spPr/>
      <dgm:t>
        <a:bodyPr/>
        <a:lstStyle/>
        <a:p>
          <a:endParaRPr lang="de-CH"/>
        </a:p>
      </dgm:t>
    </dgm:pt>
    <dgm:pt modelId="{BAC722E1-27E2-488A-8921-87D1A70D96DA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1:55 Uhr</a:t>
          </a:r>
        </a:p>
      </dgm:t>
    </dgm:pt>
    <dgm:pt modelId="{80609054-2891-4980-B58E-C723EA7FBF7F}" type="parTrans" cxnId="{4A00AEE9-846E-4D59-88A8-3592B194F874}">
      <dgm:prSet/>
      <dgm:spPr/>
      <dgm:t>
        <a:bodyPr/>
        <a:lstStyle/>
        <a:p>
          <a:endParaRPr lang="de-CH"/>
        </a:p>
      </dgm:t>
    </dgm:pt>
    <dgm:pt modelId="{2E13CE31-357A-4322-A040-4997982119CD}" type="sibTrans" cxnId="{4A00AEE9-846E-4D59-88A8-3592B194F874}">
      <dgm:prSet/>
      <dgm:spPr/>
      <dgm:t>
        <a:bodyPr/>
        <a:lstStyle/>
        <a:p>
          <a:endParaRPr lang="de-CH"/>
        </a:p>
      </dgm:t>
    </dgm:pt>
    <dgm:pt modelId="{3E6C3280-AC2F-4C7A-9AEF-783694AD9125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Nachmittags</a:t>
          </a:r>
          <a:br>
            <a:rPr lang="de-CH" dirty="0"/>
          </a:br>
          <a:r>
            <a:rPr lang="de-CH" dirty="0"/>
            <a:t>von…</a:t>
          </a:r>
        </a:p>
      </dgm:t>
    </dgm:pt>
    <dgm:pt modelId="{5DD1D89C-C9F7-4A75-B1FA-93058EFFDC80}" type="parTrans" cxnId="{620F0320-2C05-4C6C-ACA7-F32206B1A69B}">
      <dgm:prSet/>
      <dgm:spPr/>
      <dgm:t>
        <a:bodyPr/>
        <a:lstStyle/>
        <a:p>
          <a:endParaRPr lang="de-CH"/>
        </a:p>
      </dgm:t>
    </dgm:pt>
    <dgm:pt modelId="{3455C70F-F3EC-429B-867F-12F1D5DC0F3E}" type="sibTrans" cxnId="{620F0320-2C05-4C6C-ACA7-F32206B1A69B}">
      <dgm:prSet/>
      <dgm:spPr/>
      <dgm:t>
        <a:bodyPr/>
        <a:lstStyle/>
        <a:p>
          <a:endParaRPr lang="de-CH"/>
        </a:p>
      </dgm:t>
    </dgm:pt>
    <dgm:pt modelId="{8D725569-6446-4259-9E2C-039AE2D9A798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3:15 Uhr</a:t>
          </a:r>
        </a:p>
      </dgm:t>
    </dgm:pt>
    <dgm:pt modelId="{FC68D3B4-8056-4233-A731-FE9632DF622F}" type="parTrans" cxnId="{B9C4ED86-FDF2-4CBC-9D93-8E7E6C7C5551}">
      <dgm:prSet/>
      <dgm:spPr/>
      <dgm:t>
        <a:bodyPr/>
        <a:lstStyle/>
        <a:p>
          <a:endParaRPr lang="de-CH"/>
        </a:p>
      </dgm:t>
    </dgm:pt>
    <dgm:pt modelId="{A42A8121-D18C-48E3-8389-29E6AF3EE5ED}" type="sibTrans" cxnId="{B9C4ED86-FDF2-4CBC-9D93-8E7E6C7C5551}">
      <dgm:prSet/>
      <dgm:spPr/>
      <dgm:t>
        <a:bodyPr/>
        <a:lstStyle/>
        <a:p>
          <a:endParaRPr lang="de-CH"/>
        </a:p>
      </dgm:t>
    </dgm:pt>
    <dgm:pt modelId="{E41ED792-3296-4435-B02A-CE0999187114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6:40 Uhr</a:t>
          </a:r>
        </a:p>
      </dgm:t>
    </dgm:pt>
    <dgm:pt modelId="{FFDD9ABF-DCDF-440F-9165-09E9437D7BBD}" type="parTrans" cxnId="{CF58A67D-7370-44CB-B2D9-559A66314795}">
      <dgm:prSet/>
      <dgm:spPr/>
      <dgm:t>
        <a:bodyPr/>
        <a:lstStyle/>
        <a:p>
          <a:endParaRPr lang="de-CH"/>
        </a:p>
      </dgm:t>
    </dgm:pt>
    <dgm:pt modelId="{74DB6B24-5C41-4179-B1C7-B6BE8AAA2AAF}" type="sibTrans" cxnId="{CF58A67D-7370-44CB-B2D9-559A66314795}">
      <dgm:prSet/>
      <dgm:spPr/>
      <dgm:t>
        <a:bodyPr/>
        <a:lstStyle/>
        <a:p>
          <a:endParaRPr lang="de-CH"/>
        </a:p>
      </dgm:t>
    </dgm:pt>
    <dgm:pt modelId="{A99166FE-78D3-4A16-BDF4-0F23DA248B77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4B710B1F-7F00-4176-8376-D51594A6B6D9}" type="parTrans" cxnId="{ACBC4062-28C7-483A-8A7F-6C0716C88C96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5F309AFB-7825-4283-8BEF-BBD7C5A70063}" type="sibTrans" cxnId="{ACBC4062-28C7-483A-8A7F-6C0716C88C96}">
      <dgm:prSet/>
      <dgm:spPr/>
      <dgm:t>
        <a:bodyPr/>
        <a:lstStyle/>
        <a:p>
          <a:endParaRPr lang="de-CH"/>
        </a:p>
      </dgm:t>
    </dgm:pt>
    <dgm:pt modelId="{A3591E46-1E51-4C9F-8B2F-087A191899D7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8CC2767A-485D-4301-825B-35A75D32D313}" type="parTrans" cxnId="{31998540-77D0-46A4-8C13-2E8A96BF41B8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BAF35487-4361-4309-BD29-47CD9D279CBC}" type="sibTrans" cxnId="{31998540-77D0-46A4-8C13-2E8A96BF41B8}">
      <dgm:prSet/>
      <dgm:spPr/>
      <dgm:t>
        <a:bodyPr/>
        <a:lstStyle/>
        <a:p>
          <a:endParaRPr lang="de-CH"/>
        </a:p>
      </dgm:t>
    </dgm:pt>
    <dgm:pt modelId="{01A7B1B1-CE59-436E-B026-00284F1342FE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Abends</a:t>
          </a:r>
          <a:br>
            <a:rPr lang="de-CH" dirty="0"/>
          </a:br>
          <a:r>
            <a:rPr lang="de-CH" dirty="0"/>
            <a:t>von…</a:t>
          </a:r>
        </a:p>
      </dgm:t>
    </dgm:pt>
    <dgm:pt modelId="{DDE6AACF-6CB8-4853-BAC8-5D7980A8CBAA}" type="parTrans" cxnId="{CE6CFF20-787F-46B0-B506-8696519A8548}">
      <dgm:prSet/>
      <dgm:spPr/>
      <dgm:t>
        <a:bodyPr/>
        <a:lstStyle/>
        <a:p>
          <a:endParaRPr lang="de-CH"/>
        </a:p>
      </dgm:t>
    </dgm:pt>
    <dgm:pt modelId="{BAE2E178-B13B-4C5D-9852-6B5F5C638266}" type="sibTrans" cxnId="{CE6CFF20-787F-46B0-B506-8696519A8548}">
      <dgm:prSet/>
      <dgm:spPr/>
      <dgm:t>
        <a:bodyPr/>
        <a:lstStyle/>
        <a:p>
          <a:endParaRPr lang="de-CH"/>
        </a:p>
      </dgm:t>
    </dgm:pt>
    <dgm:pt modelId="{6A587132-273B-4205-A489-FA8638966C5C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8:10 Uhr</a:t>
          </a:r>
        </a:p>
      </dgm:t>
    </dgm:pt>
    <dgm:pt modelId="{F5CD96FB-03D0-453A-A57A-EC12335AD19C}" type="parTrans" cxnId="{5E2ED6D4-4E89-4603-86C1-F1CE350CCF6F}">
      <dgm:prSet/>
      <dgm:spPr/>
      <dgm:t>
        <a:bodyPr/>
        <a:lstStyle/>
        <a:p>
          <a:endParaRPr lang="de-CH"/>
        </a:p>
      </dgm:t>
    </dgm:pt>
    <dgm:pt modelId="{293BE61A-F222-4ED2-949A-3DF31D842AA5}" type="sibTrans" cxnId="{5E2ED6D4-4E89-4603-86C1-F1CE350CCF6F}">
      <dgm:prSet/>
      <dgm:spPr/>
      <dgm:t>
        <a:bodyPr/>
        <a:lstStyle/>
        <a:p>
          <a:endParaRPr lang="de-CH"/>
        </a:p>
      </dgm:t>
    </dgm:pt>
    <dgm:pt modelId="{806EF21C-B099-4594-B2CF-5BCC22B303BC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1361C8C7-EE73-4017-ABB1-61EB3C9F0E42}" type="parTrans" cxnId="{D539807B-2771-464D-9EAA-53ECA6738C78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AEFD9A1E-D477-439E-AC11-D1BD8D7CBC27}" type="sibTrans" cxnId="{D539807B-2771-464D-9EAA-53ECA6738C78}">
      <dgm:prSet/>
      <dgm:spPr/>
      <dgm:t>
        <a:bodyPr/>
        <a:lstStyle/>
        <a:p>
          <a:endParaRPr lang="de-CH"/>
        </a:p>
      </dgm:t>
    </dgm:pt>
    <dgm:pt modelId="{2CD5DE3D-0B25-49BF-A245-E854C9CE7E4F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21:50 Uhr</a:t>
          </a:r>
        </a:p>
      </dgm:t>
    </dgm:pt>
    <dgm:pt modelId="{924B1A7E-B826-4BB0-8EF1-B0AC649F5B87}" type="parTrans" cxnId="{20C7EB7E-7C39-4A0C-B3EC-1E268127977B}">
      <dgm:prSet/>
      <dgm:spPr/>
      <dgm:t>
        <a:bodyPr/>
        <a:lstStyle/>
        <a:p>
          <a:endParaRPr lang="de-CH"/>
        </a:p>
      </dgm:t>
    </dgm:pt>
    <dgm:pt modelId="{EC563C2A-D179-4396-8E58-FAF6A3D4BC77}" type="sibTrans" cxnId="{20C7EB7E-7C39-4A0C-B3EC-1E268127977B}">
      <dgm:prSet/>
      <dgm:spPr/>
      <dgm:t>
        <a:bodyPr/>
        <a:lstStyle/>
        <a:p>
          <a:endParaRPr lang="de-CH"/>
        </a:p>
      </dgm:t>
    </dgm:pt>
    <dgm:pt modelId="{F6F9012A-87BE-4EE3-A690-055366B8F9D7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CCBA445A-740D-4FBC-A5AA-BAD3E05D523B}" type="parTrans" cxnId="{24D0A245-B5B1-4530-B688-F2531A531578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C3FEADF4-409D-4F2E-9C8B-3307ABE47DA3}" type="sibTrans" cxnId="{24D0A245-B5B1-4530-B688-F2531A531578}">
      <dgm:prSet/>
      <dgm:spPr/>
      <dgm:t>
        <a:bodyPr/>
        <a:lstStyle/>
        <a:p>
          <a:endParaRPr lang="de-CH"/>
        </a:p>
      </dgm:t>
    </dgm:pt>
    <dgm:pt modelId="{7BDBCFF2-147B-49CB-8B65-4DA8F0922AAD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4BCD8319-64C9-432E-BA12-C2D26B49BFE6}" type="parTrans" cxnId="{C8CA8A08-ED71-4762-A828-500BB6AAFBEC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A4D76997-24ED-4B31-AB9E-79A548470FE9}" type="sibTrans" cxnId="{C8CA8A08-ED71-4762-A828-500BB6AAFBEC}">
      <dgm:prSet/>
      <dgm:spPr/>
      <dgm:t>
        <a:bodyPr/>
        <a:lstStyle/>
        <a:p>
          <a:endParaRPr lang="de-CH"/>
        </a:p>
      </dgm:t>
    </dgm:pt>
    <dgm:pt modelId="{DC648DE9-BDDE-47A8-81F3-A959FD1297ED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3E932220-C1A7-4DE7-839E-003C78B72851}" type="sibTrans" cxnId="{4C471BC2-DC23-4A0F-A6CF-7B5EFD51A188}">
      <dgm:prSet/>
      <dgm:spPr/>
      <dgm:t>
        <a:bodyPr/>
        <a:lstStyle/>
        <a:p>
          <a:endParaRPr lang="de-CH"/>
        </a:p>
      </dgm:t>
    </dgm:pt>
    <dgm:pt modelId="{E5A2F4F1-367B-4665-A7C8-AD9CA5ABEC2C}" type="parTrans" cxnId="{4C471BC2-DC23-4A0F-A6CF-7B5EFD51A188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F17F1358-CD5D-4C61-A104-38FAD3DCE1E0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08:15 Uhr</a:t>
          </a:r>
        </a:p>
      </dgm:t>
    </dgm:pt>
    <dgm:pt modelId="{6AF437D9-F12C-4FB1-B037-870DD31C1775}" type="sibTrans" cxnId="{E1ED4EE2-E3AB-4084-B183-42741FF4A29E}">
      <dgm:prSet/>
      <dgm:spPr/>
      <dgm:t>
        <a:bodyPr/>
        <a:lstStyle/>
        <a:p>
          <a:endParaRPr lang="de-CH"/>
        </a:p>
      </dgm:t>
    </dgm:pt>
    <dgm:pt modelId="{1D979EB2-6C66-4EB5-8CD3-C2EE4CB89D9C}" type="parTrans" cxnId="{E1ED4EE2-E3AB-4084-B183-42741FF4A29E}">
      <dgm:prSet/>
      <dgm:spPr/>
      <dgm:t>
        <a:bodyPr/>
        <a:lstStyle/>
        <a:p>
          <a:endParaRPr lang="de-CH"/>
        </a:p>
      </dgm:t>
    </dgm:pt>
    <dgm:pt modelId="{E70590A1-CB01-42ED-8C65-49DC0EF7BFCF}" type="pres">
      <dgm:prSet presAssocID="{E7CE0BB8-A326-429F-A594-0E3DD11B0FA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351C1D7-3B9A-469C-9872-E64D1675B52B}" type="pres">
      <dgm:prSet presAssocID="{5F64E49C-400F-482F-932E-690765A0C022}" presName="root" presStyleCnt="0"/>
      <dgm:spPr/>
    </dgm:pt>
    <dgm:pt modelId="{7B6A32A6-A91F-481E-BF3C-567CD07F9EBB}" type="pres">
      <dgm:prSet presAssocID="{5F64E49C-400F-482F-932E-690765A0C022}" presName="rootComposite" presStyleCnt="0"/>
      <dgm:spPr/>
    </dgm:pt>
    <dgm:pt modelId="{D2B160AE-60EE-49B1-AB0B-296A6F051F5D}" type="pres">
      <dgm:prSet presAssocID="{5F64E49C-400F-482F-932E-690765A0C022}" presName="rootText" presStyleLbl="node1" presStyleIdx="0" presStyleCnt="3" custScaleX="124497" custScaleY="127474"/>
      <dgm:spPr/>
    </dgm:pt>
    <dgm:pt modelId="{66AF27FE-DEEE-4493-8AB6-2DF75BD76863}" type="pres">
      <dgm:prSet presAssocID="{5F64E49C-400F-482F-932E-690765A0C022}" presName="rootConnector" presStyleLbl="node1" presStyleIdx="0" presStyleCnt="3"/>
      <dgm:spPr/>
    </dgm:pt>
    <dgm:pt modelId="{7E6EDE5B-5DCC-483F-BDEE-F8B742382690}" type="pres">
      <dgm:prSet presAssocID="{5F64E49C-400F-482F-932E-690765A0C022}" presName="childShape" presStyleCnt="0"/>
      <dgm:spPr/>
    </dgm:pt>
    <dgm:pt modelId="{2880CEAC-AF94-4C40-9A65-AB091322C543}" type="pres">
      <dgm:prSet presAssocID="{CCBA445A-740D-4FBC-A5AA-BAD3E05D523B}" presName="Name13" presStyleLbl="parChTrans1D2" presStyleIdx="0" presStyleCnt="12"/>
      <dgm:spPr/>
    </dgm:pt>
    <dgm:pt modelId="{BE348649-D026-4AD6-85CA-2B877E9CAC35}" type="pres">
      <dgm:prSet presAssocID="{F6F9012A-87BE-4EE3-A690-055366B8F9D7}" presName="childText" presStyleLbl="bgAcc1" presStyleIdx="0" presStyleCnt="12">
        <dgm:presLayoutVars>
          <dgm:bulletEnabled val="1"/>
        </dgm:presLayoutVars>
      </dgm:prSet>
      <dgm:spPr/>
    </dgm:pt>
    <dgm:pt modelId="{82715789-5A6E-42E7-AE77-4CCA967CF352}" type="pres">
      <dgm:prSet presAssocID="{1D979EB2-6C66-4EB5-8CD3-C2EE4CB89D9C}" presName="Name13" presStyleLbl="parChTrans1D2" presStyleIdx="1" presStyleCnt="12"/>
      <dgm:spPr/>
    </dgm:pt>
    <dgm:pt modelId="{708D8021-C0C5-469D-87AA-07CD20DD4549}" type="pres">
      <dgm:prSet presAssocID="{F17F1358-CD5D-4C61-A104-38FAD3DCE1E0}" presName="childText" presStyleLbl="bgAcc1" presStyleIdx="1" presStyleCnt="12" custScaleX="124497">
        <dgm:presLayoutVars>
          <dgm:bulletEnabled val="1"/>
        </dgm:presLayoutVars>
      </dgm:prSet>
      <dgm:spPr/>
    </dgm:pt>
    <dgm:pt modelId="{2937C455-D2D3-4F68-AB4C-42FDD485D8C6}" type="pres">
      <dgm:prSet presAssocID="{4B710B1F-7F00-4176-8376-D51594A6B6D9}" presName="Name13" presStyleLbl="parChTrans1D2" presStyleIdx="2" presStyleCnt="12"/>
      <dgm:spPr/>
    </dgm:pt>
    <dgm:pt modelId="{4C3688E5-D649-458A-839E-2FA2629520C7}" type="pres">
      <dgm:prSet presAssocID="{A99166FE-78D3-4A16-BDF4-0F23DA248B77}" presName="childText" presStyleLbl="bgAcc1" presStyleIdx="2" presStyleCnt="12" custScaleX="124497">
        <dgm:presLayoutVars>
          <dgm:bulletEnabled val="1"/>
        </dgm:presLayoutVars>
      </dgm:prSet>
      <dgm:spPr/>
    </dgm:pt>
    <dgm:pt modelId="{31775304-2651-453F-BE24-5761B5BBEB7E}" type="pres">
      <dgm:prSet presAssocID="{80609054-2891-4980-B58E-C723EA7FBF7F}" presName="Name13" presStyleLbl="parChTrans1D2" presStyleIdx="3" presStyleCnt="12"/>
      <dgm:spPr/>
    </dgm:pt>
    <dgm:pt modelId="{6A61774E-83D5-4C66-A999-6CF5CF49A64C}" type="pres">
      <dgm:prSet presAssocID="{BAC722E1-27E2-488A-8921-87D1A70D96DA}" presName="childText" presStyleLbl="bgAcc1" presStyleIdx="3" presStyleCnt="12" custScaleX="124497">
        <dgm:presLayoutVars>
          <dgm:bulletEnabled val="1"/>
        </dgm:presLayoutVars>
      </dgm:prSet>
      <dgm:spPr/>
    </dgm:pt>
    <dgm:pt modelId="{9E4CA38E-236B-414C-937B-65B84A432F52}" type="pres">
      <dgm:prSet presAssocID="{3E6C3280-AC2F-4C7A-9AEF-783694AD9125}" presName="root" presStyleCnt="0"/>
      <dgm:spPr/>
    </dgm:pt>
    <dgm:pt modelId="{FA55899F-4636-465C-85F6-D23E39502DBD}" type="pres">
      <dgm:prSet presAssocID="{3E6C3280-AC2F-4C7A-9AEF-783694AD9125}" presName="rootComposite" presStyleCnt="0"/>
      <dgm:spPr/>
    </dgm:pt>
    <dgm:pt modelId="{67C2E270-FB59-4561-A7E8-476C78CD8D65}" type="pres">
      <dgm:prSet presAssocID="{3E6C3280-AC2F-4C7A-9AEF-783694AD9125}" presName="rootText" presStyleLbl="node1" presStyleIdx="1" presStyleCnt="3" custScaleX="124497" custScaleY="127474"/>
      <dgm:spPr/>
    </dgm:pt>
    <dgm:pt modelId="{FC1076BF-86E3-43BF-8D53-667BA5403AA5}" type="pres">
      <dgm:prSet presAssocID="{3E6C3280-AC2F-4C7A-9AEF-783694AD9125}" presName="rootConnector" presStyleLbl="node1" presStyleIdx="1" presStyleCnt="3"/>
      <dgm:spPr/>
    </dgm:pt>
    <dgm:pt modelId="{4288AC2B-1765-4A47-A5DC-0F21AA7DD0D4}" type="pres">
      <dgm:prSet presAssocID="{3E6C3280-AC2F-4C7A-9AEF-783694AD9125}" presName="childShape" presStyleCnt="0"/>
      <dgm:spPr/>
    </dgm:pt>
    <dgm:pt modelId="{7600C868-8761-4D6B-970B-F745E516C266}" type="pres">
      <dgm:prSet presAssocID="{E5A2F4F1-367B-4665-A7C8-AD9CA5ABEC2C}" presName="Name13" presStyleLbl="parChTrans1D2" presStyleIdx="4" presStyleCnt="12"/>
      <dgm:spPr/>
    </dgm:pt>
    <dgm:pt modelId="{A5C9992D-A915-4490-ACC7-ABD9AC8810AA}" type="pres">
      <dgm:prSet presAssocID="{DC648DE9-BDDE-47A8-81F3-A959FD1297ED}" presName="childText" presStyleLbl="bgAcc1" presStyleIdx="4" presStyleCnt="12">
        <dgm:presLayoutVars>
          <dgm:bulletEnabled val="1"/>
        </dgm:presLayoutVars>
      </dgm:prSet>
      <dgm:spPr/>
    </dgm:pt>
    <dgm:pt modelId="{0F5C3FBD-F0D7-457A-8A3D-F894E135081D}" type="pres">
      <dgm:prSet presAssocID="{FC68D3B4-8056-4233-A731-FE9632DF622F}" presName="Name13" presStyleLbl="parChTrans1D2" presStyleIdx="5" presStyleCnt="12"/>
      <dgm:spPr/>
    </dgm:pt>
    <dgm:pt modelId="{0D4EFF92-B00F-433D-8E13-404EC2F306DD}" type="pres">
      <dgm:prSet presAssocID="{8D725569-6446-4259-9E2C-039AE2D9A798}" presName="childText" presStyleLbl="bgAcc1" presStyleIdx="5" presStyleCnt="12" custScaleX="124497">
        <dgm:presLayoutVars>
          <dgm:bulletEnabled val="1"/>
        </dgm:presLayoutVars>
      </dgm:prSet>
      <dgm:spPr/>
    </dgm:pt>
    <dgm:pt modelId="{5B8F671E-5E77-48D4-AD23-415D145D72FF}" type="pres">
      <dgm:prSet presAssocID="{8CC2767A-485D-4301-825B-35A75D32D313}" presName="Name13" presStyleLbl="parChTrans1D2" presStyleIdx="6" presStyleCnt="12"/>
      <dgm:spPr/>
    </dgm:pt>
    <dgm:pt modelId="{B1758A4B-FB01-4E33-B580-15E296A5DAF6}" type="pres">
      <dgm:prSet presAssocID="{A3591E46-1E51-4C9F-8B2F-087A191899D7}" presName="childText" presStyleLbl="bgAcc1" presStyleIdx="6" presStyleCnt="12" custScaleX="124497">
        <dgm:presLayoutVars>
          <dgm:bulletEnabled val="1"/>
        </dgm:presLayoutVars>
      </dgm:prSet>
      <dgm:spPr/>
    </dgm:pt>
    <dgm:pt modelId="{924D06F6-7185-4D77-992C-D0E42528A2B9}" type="pres">
      <dgm:prSet presAssocID="{FFDD9ABF-DCDF-440F-9165-09E9437D7BBD}" presName="Name13" presStyleLbl="parChTrans1D2" presStyleIdx="7" presStyleCnt="12"/>
      <dgm:spPr/>
    </dgm:pt>
    <dgm:pt modelId="{20401F6E-2218-4903-935B-57A86E61C90F}" type="pres">
      <dgm:prSet presAssocID="{E41ED792-3296-4435-B02A-CE0999187114}" presName="childText" presStyleLbl="bgAcc1" presStyleIdx="7" presStyleCnt="12" custScaleX="124497">
        <dgm:presLayoutVars>
          <dgm:bulletEnabled val="1"/>
        </dgm:presLayoutVars>
      </dgm:prSet>
      <dgm:spPr/>
    </dgm:pt>
    <dgm:pt modelId="{B99A5C08-291D-495E-B605-44391234B86D}" type="pres">
      <dgm:prSet presAssocID="{01A7B1B1-CE59-436E-B026-00284F1342FE}" presName="root" presStyleCnt="0"/>
      <dgm:spPr/>
    </dgm:pt>
    <dgm:pt modelId="{89A92BDF-B959-4160-8E20-68391CBF0155}" type="pres">
      <dgm:prSet presAssocID="{01A7B1B1-CE59-436E-B026-00284F1342FE}" presName="rootComposite" presStyleCnt="0"/>
      <dgm:spPr/>
    </dgm:pt>
    <dgm:pt modelId="{FAF89C5A-7A86-4798-8D7C-6493155A2469}" type="pres">
      <dgm:prSet presAssocID="{01A7B1B1-CE59-436E-B026-00284F1342FE}" presName="rootText" presStyleLbl="node1" presStyleIdx="2" presStyleCnt="3" custScaleX="124497" custScaleY="127474"/>
      <dgm:spPr/>
    </dgm:pt>
    <dgm:pt modelId="{AC3F0DCD-B575-4F76-93DC-D90C4B2CF804}" type="pres">
      <dgm:prSet presAssocID="{01A7B1B1-CE59-436E-B026-00284F1342FE}" presName="rootConnector" presStyleLbl="node1" presStyleIdx="2" presStyleCnt="3"/>
      <dgm:spPr/>
    </dgm:pt>
    <dgm:pt modelId="{493E952A-5B84-4DA1-9FD2-229522C3550F}" type="pres">
      <dgm:prSet presAssocID="{01A7B1B1-CE59-436E-B026-00284F1342FE}" presName="childShape" presStyleCnt="0"/>
      <dgm:spPr/>
    </dgm:pt>
    <dgm:pt modelId="{BE3EAFF3-E1C7-4061-8753-EBACC9EDA0AF}" type="pres">
      <dgm:prSet presAssocID="{4BCD8319-64C9-432E-BA12-C2D26B49BFE6}" presName="Name13" presStyleLbl="parChTrans1D2" presStyleIdx="8" presStyleCnt="12"/>
      <dgm:spPr/>
    </dgm:pt>
    <dgm:pt modelId="{7F8FE4A9-0DE9-49DD-810F-605F5E5FF114}" type="pres">
      <dgm:prSet presAssocID="{7BDBCFF2-147B-49CB-8B65-4DA8F0922AAD}" presName="childText" presStyleLbl="bgAcc1" presStyleIdx="8" presStyleCnt="12">
        <dgm:presLayoutVars>
          <dgm:bulletEnabled val="1"/>
        </dgm:presLayoutVars>
      </dgm:prSet>
      <dgm:spPr/>
    </dgm:pt>
    <dgm:pt modelId="{F88DB0F4-A17F-4688-95B1-5FA6C6295493}" type="pres">
      <dgm:prSet presAssocID="{F5CD96FB-03D0-453A-A57A-EC12335AD19C}" presName="Name13" presStyleLbl="parChTrans1D2" presStyleIdx="9" presStyleCnt="12"/>
      <dgm:spPr/>
    </dgm:pt>
    <dgm:pt modelId="{2925C952-3C69-4BC8-8352-D45A11665B31}" type="pres">
      <dgm:prSet presAssocID="{6A587132-273B-4205-A489-FA8638966C5C}" presName="childText" presStyleLbl="bgAcc1" presStyleIdx="9" presStyleCnt="12" custScaleX="124497">
        <dgm:presLayoutVars>
          <dgm:bulletEnabled val="1"/>
        </dgm:presLayoutVars>
      </dgm:prSet>
      <dgm:spPr/>
    </dgm:pt>
    <dgm:pt modelId="{EAAEDE6B-8CD4-4EFC-92C6-DE3061D75F24}" type="pres">
      <dgm:prSet presAssocID="{1361C8C7-EE73-4017-ABB1-61EB3C9F0E42}" presName="Name13" presStyleLbl="parChTrans1D2" presStyleIdx="10" presStyleCnt="12"/>
      <dgm:spPr/>
    </dgm:pt>
    <dgm:pt modelId="{03C82D46-1174-4CED-825B-3A011305C6ED}" type="pres">
      <dgm:prSet presAssocID="{806EF21C-B099-4594-B2CF-5BCC22B303BC}" presName="childText" presStyleLbl="bgAcc1" presStyleIdx="10" presStyleCnt="12" custScaleX="124497">
        <dgm:presLayoutVars>
          <dgm:bulletEnabled val="1"/>
        </dgm:presLayoutVars>
      </dgm:prSet>
      <dgm:spPr/>
    </dgm:pt>
    <dgm:pt modelId="{2A0EE326-4461-49A0-8B28-B96F6D74D1B5}" type="pres">
      <dgm:prSet presAssocID="{924B1A7E-B826-4BB0-8EF1-B0AC649F5B87}" presName="Name13" presStyleLbl="parChTrans1D2" presStyleIdx="11" presStyleCnt="12"/>
      <dgm:spPr/>
    </dgm:pt>
    <dgm:pt modelId="{55815F01-5A78-42B0-8152-CF4C68EABA67}" type="pres">
      <dgm:prSet presAssocID="{2CD5DE3D-0B25-49BF-A245-E854C9CE7E4F}" presName="childText" presStyleLbl="bgAcc1" presStyleIdx="11" presStyleCnt="12" custScaleX="124497">
        <dgm:presLayoutVars>
          <dgm:bulletEnabled val="1"/>
        </dgm:presLayoutVars>
      </dgm:prSet>
      <dgm:spPr/>
    </dgm:pt>
  </dgm:ptLst>
  <dgm:cxnLst>
    <dgm:cxn modelId="{47D57D02-ABD7-4BA1-B7DC-2603847E8ED4}" type="presOf" srcId="{E5A2F4F1-367B-4665-A7C8-AD9CA5ABEC2C}" destId="{7600C868-8761-4D6B-970B-F745E516C266}" srcOrd="0" destOrd="0" presId="urn:microsoft.com/office/officeart/2005/8/layout/hierarchy3"/>
    <dgm:cxn modelId="{622BCB02-7D73-4B74-B289-9CB4B7B2485C}" type="presOf" srcId="{806EF21C-B099-4594-B2CF-5BCC22B303BC}" destId="{03C82D46-1174-4CED-825B-3A011305C6ED}" srcOrd="0" destOrd="0" presId="urn:microsoft.com/office/officeart/2005/8/layout/hierarchy3"/>
    <dgm:cxn modelId="{C8CA8A08-ED71-4762-A828-500BB6AAFBEC}" srcId="{01A7B1B1-CE59-436E-B026-00284F1342FE}" destId="{7BDBCFF2-147B-49CB-8B65-4DA8F0922AAD}" srcOrd="0" destOrd="0" parTransId="{4BCD8319-64C9-432E-BA12-C2D26B49BFE6}" sibTransId="{A4D76997-24ED-4B31-AB9E-79A548470FE9}"/>
    <dgm:cxn modelId="{3D306618-3789-44B0-ABD0-D21AB5DE8C7E}" type="presOf" srcId="{F5CD96FB-03D0-453A-A57A-EC12335AD19C}" destId="{F88DB0F4-A17F-4688-95B1-5FA6C6295493}" srcOrd="0" destOrd="0" presId="urn:microsoft.com/office/officeart/2005/8/layout/hierarchy3"/>
    <dgm:cxn modelId="{0C2B931C-C586-4FC7-B1F7-27691C5B88F6}" type="presOf" srcId="{1361C8C7-EE73-4017-ABB1-61EB3C9F0E42}" destId="{EAAEDE6B-8CD4-4EFC-92C6-DE3061D75F24}" srcOrd="0" destOrd="0" presId="urn:microsoft.com/office/officeart/2005/8/layout/hierarchy3"/>
    <dgm:cxn modelId="{9BD4621E-DE0A-409A-8128-6A3B43479DCA}" type="presOf" srcId="{E7CE0BB8-A326-429F-A594-0E3DD11B0FA6}" destId="{E70590A1-CB01-42ED-8C65-49DC0EF7BFCF}" srcOrd="0" destOrd="0" presId="urn:microsoft.com/office/officeart/2005/8/layout/hierarchy3"/>
    <dgm:cxn modelId="{620F0320-2C05-4C6C-ACA7-F32206B1A69B}" srcId="{E7CE0BB8-A326-429F-A594-0E3DD11B0FA6}" destId="{3E6C3280-AC2F-4C7A-9AEF-783694AD9125}" srcOrd="1" destOrd="0" parTransId="{5DD1D89C-C9F7-4A75-B1FA-93058EFFDC80}" sibTransId="{3455C70F-F3EC-429B-867F-12F1D5DC0F3E}"/>
    <dgm:cxn modelId="{CE6CFF20-787F-46B0-B506-8696519A8548}" srcId="{E7CE0BB8-A326-429F-A594-0E3DD11B0FA6}" destId="{01A7B1B1-CE59-436E-B026-00284F1342FE}" srcOrd="2" destOrd="0" parTransId="{DDE6AACF-6CB8-4853-BAC8-5D7980A8CBAA}" sibTransId="{BAE2E178-B13B-4C5D-9852-6B5F5C638266}"/>
    <dgm:cxn modelId="{C968852F-F99A-4C68-B619-DA7BD557DDC3}" type="presOf" srcId="{A3591E46-1E51-4C9F-8B2F-087A191899D7}" destId="{B1758A4B-FB01-4E33-B580-15E296A5DAF6}" srcOrd="0" destOrd="0" presId="urn:microsoft.com/office/officeart/2005/8/layout/hierarchy3"/>
    <dgm:cxn modelId="{9B994839-FCB3-48E7-AE89-0832A95ADC1F}" type="presOf" srcId="{01A7B1B1-CE59-436E-B026-00284F1342FE}" destId="{AC3F0DCD-B575-4F76-93DC-D90C4B2CF804}" srcOrd="1" destOrd="0" presId="urn:microsoft.com/office/officeart/2005/8/layout/hierarchy3"/>
    <dgm:cxn modelId="{C4990D3C-9E5E-4E10-A53A-E6C6F16EC45E}" type="presOf" srcId="{8D725569-6446-4259-9E2C-039AE2D9A798}" destId="{0D4EFF92-B00F-433D-8E13-404EC2F306DD}" srcOrd="0" destOrd="0" presId="urn:microsoft.com/office/officeart/2005/8/layout/hierarchy3"/>
    <dgm:cxn modelId="{31998540-77D0-46A4-8C13-2E8A96BF41B8}" srcId="{3E6C3280-AC2F-4C7A-9AEF-783694AD9125}" destId="{A3591E46-1E51-4C9F-8B2F-087A191899D7}" srcOrd="2" destOrd="0" parTransId="{8CC2767A-485D-4301-825B-35A75D32D313}" sibTransId="{BAF35487-4361-4309-BD29-47CD9D279CBC}"/>
    <dgm:cxn modelId="{F415CF5D-9E43-4EB8-8B96-B9D0276A4C4F}" type="presOf" srcId="{BAC722E1-27E2-488A-8921-87D1A70D96DA}" destId="{6A61774E-83D5-4C66-A999-6CF5CF49A64C}" srcOrd="0" destOrd="0" presId="urn:microsoft.com/office/officeart/2005/8/layout/hierarchy3"/>
    <dgm:cxn modelId="{BE73305F-E387-4AF1-9EC8-D85340E8828E}" type="presOf" srcId="{FFDD9ABF-DCDF-440F-9165-09E9437D7BBD}" destId="{924D06F6-7185-4D77-992C-D0E42528A2B9}" srcOrd="0" destOrd="0" presId="urn:microsoft.com/office/officeart/2005/8/layout/hierarchy3"/>
    <dgm:cxn modelId="{3A31EA5F-A943-4828-90AF-35E0DAF63DCA}" type="presOf" srcId="{A99166FE-78D3-4A16-BDF4-0F23DA248B77}" destId="{4C3688E5-D649-458A-839E-2FA2629520C7}" srcOrd="0" destOrd="0" presId="urn:microsoft.com/office/officeart/2005/8/layout/hierarchy3"/>
    <dgm:cxn modelId="{ACBC4062-28C7-483A-8A7F-6C0716C88C96}" srcId="{5F64E49C-400F-482F-932E-690765A0C022}" destId="{A99166FE-78D3-4A16-BDF4-0F23DA248B77}" srcOrd="2" destOrd="0" parTransId="{4B710B1F-7F00-4176-8376-D51594A6B6D9}" sibTransId="{5F309AFB-7825-4283-8BEF-BBD7C5A70063}"/>
    <dgm:cxn modelId="{00120843-00BC-4B7E-B14F-4D3A13C9FD6B}" type="presOf" srcId="{F6F9012A-87BE-4EE3-A690-055366B8F9D7}" destId="{BE348649-D026-4AD6-85CA-2B877E9CAC35}" srcOrd="0" destOrd="0" presId="urn:microsoft.com/office/officeart/2005/8/layout/hierarchy3"/>
    <dgm:cxn modelId="{24D0A245-B5B1-4530-B688-F2531A531578}" srcId="{5F64E49C-400F-482F-932E-690765A0C022}" destId="{F6F9012A-87BE-4EE3-A690-055366B8F9D7}" srcOrd="0" destOrd="0" parTransId="{CCBA445A-740D-4FBC-A5AA-BAD3E05D523B}" sibTransId="{C3FEADF4-409D-4F2E-9C8B-3307ABE47DA3}"/>
    <dgm:cxn modelId="{E0369C69-F1E5-4933-9212-4BC52C863230}" type="presOf" srcId="{2CD5DE3D-0B25-49BF-A245-E854C9CE7E4F}" destId="{55815F01-5A78-42B0-8152-CF4C68EABA67}" srcOrd="0" destOrd="0" presId="urn:microsoft.com/office/officeart/2005/8/layout/hierarchy3"/>
    <dgm:cxn modelId="{8F82554B-8D0D-44B3-B1C9-13D7182D1214}" type="presOf" srcId="{01A7B1B1-CE59-436E-B026-00284F1342FE}" destId="{FAF89C5A-7A86-4798-8D7C-6493155A2469}" srcOrd="0" destOrd="0" presId="urn:microsoft.com/office/officeart/2005/8/layout/hierarchy3"/>
    <dgm:cxn modelId="{B5EE464E-9F6A-4078-A23F-A640439D3AE9}" type="presOf" srcId="{3E6C3280-AC2F-4C7A-9AEF-783694AD9125}" destId="{67C2E270-FB59-4561-A7E8-476C78CD8D65}" srcOrd="0" destOrd="0" presId="urn:microsoft.com/office/officeart/2005/8/layout/hierarchy3"/>
    <dgm:cxn modelId="{FF93CB4E-C3F7-48F5-9761-EACEA048ED76}" type="presOf" srcId="{5F64E49C-400F-482F-932E-690765A0C022}" destId="{66AF27FE-DEEE-4493-8AB6-2DF75BD76863}" srcOrd="1" destOrd="0" presId="urn:microsoft.com/office/officeart/2005/8/layout/hierarchy3"/>
    <dgm:cxn modelId="{37D6C451-20BD-4FC6-B794-13F81235F3DA}" type="presOf" srcId="{5F64E49C-400F-482F-932E-690765A0C022}" destId="{D2B160AE-60EE-49B1-AB0B-296A6F051F5D}" srcOrd="0" destOrd="0" presId="urn:microsoft.com/office/officeart/2005/8/layout/hierarchy3"/>
    <dgm:cxn modelId="{9358F153-9621-4120-95A3-EC58203B3C68}" srcId="{E7CE0BB8-A326-429F-A594-0E3DD11B0FA6}" destId="{5F64E49C-400F-482F-932E-690765A0C022}" srcOrd="0" destOrd="0" parTransId="{E7A869FA-B721-4559-BE01-F1BA13137AB7}" sibTransId="{46EC8EFC-639E-447F-95F7-0175CA34EDC5}"/>
    <dgm:cxn modelId="{1B8B9974-EB9C-485F-8101-B75AEC9666AA}" type="presOf" srcId="{7BDBCFF2-147B-49CB-8B65-4DA8F0922AAD}" destId="{7F8FE4A9-0DE9-49DD-810F-605F5E5FF114}" srcOrd="0" destOrd="0" presId="urn:microsoft.com/office/officeart/2005/8/layout/hierarchy3"/>
    <dgm:cxn modelId="{59C46F75-2869-4B80-8DEE-9278E6B109F4}" type="presOf" srcId="{4BCD8319-64C9-432E-BA12-C2D26B49BFE6}" destId="{BE3EAFF3-E1C7-4061-8753-EBACC9EDA0AF}" srcOrd="0" destOrd="0" presId="urn:microsoft.com/office/officeart/2005/8/layout/hierarchy3"/>
    <dgm:cxn modelId="{3B07B975-E836-4167-8BAF-8C518104F676}" type="presOf" srcId="{3E6C3280-AC2F-4C7A-9AEF-783694AD9125}" destId="{FC1076BF-86E3-43BF-8D53-667BA5403AA5}" srcOrd="1" destOrd="0" presId="urn:microsoft.com/office/officeart/2005/8/layout/hierarchy3"/>
    <dgm:cxn modelId="{76A69F79-5643-4C93-BE8B-B3A82F566017}" type="presOf" srcId="{FC68D3B4-8056-4233-A731-FE9632DF622F}" destId="{0F5C3FBD-F0D7-457A-8A3D-F894E135081D}" srcOrd="0" destOrd="0" presId="urn:microsoft.com/office/officeart/2005/8/layout/hierarchy3"/>
    <dgm:cxn modelId="{D539807B-2771-464D-9EAA-53ECA6738C78}" srcId="{01A7B1B1-CE59-436E-B026-00284F1342FE}" destId="{806EF21C-B099-4594-B2CF-5BCC22B303BC}" srcOrd="2" destOrd="0" parTransId="{1361C8C7-EE73-4017-ABB1-61EB3C9F0E42}" sibTransId="{AEFD9A1E-D477-439E-AC11-D1BD8D7CBC27}"/>
    <dgm:cxn modelId="{CF58A67D-7370-44CB-B2D9-559A66314795}" srcId="{3E6C3280-AC2F-4C7A-9AEF-783694AD9125}" destId="{E41ED792-3296-4435-B02A-CE0999187114}" srcOrd="3" destOrd="0" parTransId="{FFDD9ABF-DCDF-440F-9165-09E9437D7BBD}" sibTransId="{74DB6B24-5C41-4179-B1C7-B6BE8AAA2AAF}"/>
    <dgm:cxn modelId="{20C7EB7E-7C39-4A0C-B3EC-1E268127977B}" srcId="{01A7B1B1-CE59-436E-B026-00284F1342FE}" destId="{2CD5DE3D-0B25-49BF-A245-E854C9CE7E4F}" srcOrd="3" destOrd="0" parTransId="{924B1A7E-B826-4BB0-8EF1-B0AC649F5B87}" sibTransId="{EC563C2A-D179-4396-8E58-FAF6A3D4BC77}"/>
    <dgm:cxn modelId="{B9C4ED86-FDF2-4CBC-9D93-8E7E6C7C5551}" srcId="{3E6C3280-AC2F-4C7A-9AEF-783694AD9125}" destId="{8D725569-6446-4259-9E2C-039AE2D9A798}" srcOrd="1" destOrd="0" parTransId="{FC68D3B4-8056-4233-A731-FE9632DF622F}" sibTransId="{A42A8121-D18C-48E3-8389-29E6AF3EE5ED}"/>
    <dgm:cxn modelId="{AA385A8F-43E9-4031-87E4-348F2D05C5C1}" type="presOf" srcId="{6A587132-273B-4205-A489-FA8638966C5C}" destId="{2925C952-3C69-4BC8-8352-D45A11665B31}" srcOrd="0" destOrd="0" presId="urn:microsoft.com/office/officeart/2005/8/layout/hierarchy3"/>
    <dgm:cxn modelId="{92A24AAC-6F3E-4D35-B693-6D865C5C457D}" type="presOf" srcId="{CCBA445A-740D-4FBC-A5AA-BAD3E05D523B}" destId="{2880CEAC-AF94-4C40-9A65-AB091322C543}" srcOrd="0" destOrd="0" presId="urn:microsoft.com/office/officeart/2005/8/layout/hierarchy3"/>
    <dgm:cxn modelId="{0495FEAC-BFFE-4119-8C03-DD37D75D83FA}" type="presOf" srcId="{4B710B1F-7F00-4176-8376-D51594A6B6D9}" destId="{2937C455-D2D3-4F68-AB4C-42FDD485D8C6}" srcOrd="0" destOrd="0" presId="urn:microsoft.com/office/officeart/2005/8/layout/hierarchy3"/>
    <dgm:cxn modelId="{0797D6B0-88E5-4E91-BD17-38881BF1FC17}" type="presOf" srcId="{F17F1358-CD5D-4C61-A104-38FAD3DCE1E0}" destId="{708D8021-C0C5-469D-87AA-07CD20DD4549}" srcOrd="0" destOrd="0" presId="urn:microsoft.com/office/officeart/2005/8/layout/hierarchy3"/>
    <dgm:cxn modelId="{4C471BC2-DC23-4A0F-A6CF-7B5EFD51A188}" srcId="{3E6C3280-AC2F-4C7A-9AEF-783694AD9125}" destId="{DC648DE9-BDDE-47A8-81F3-A959FD1297ED}" srcOrd="0" destOrd="0" parTransId="{E5A2F4F1-367B-4665-A7C8-AD9CA5ABEC2C}" sibTransId="{3E932220-C1A7-4DE7-839E-003C78B72851}"/>
    <dgm:cxn modelId="{3301BECE-865E-4810-8C50-ABDB03F11591}" type="presOf" srcId="{8CC2767A-485D-4301-825B-35A75D32D313}" destId="{5B8F671E-5E77-48D4-AD23-415D145D72FF}" srcOrd="0" destOrd="0" presId="urn:microsoft.com/office/officeart/2005/8/layout/hierarchy3"/>
    <dgm:cxn modelId="{5E2ED6D4-4E89-4603-86C1-F1CE350CCF6F}" srcId="{01A7B1B1-CE59-436E-B026-00284F1342FE}" destId="{6A587132-273B-4205-A489-FA8638966C5C}" srcOrd="1" destOrd="0" parTransId="{F5CD96FB-03D0-453A-A57A-EC12335AD19C}" sibTransId="{293BE61A-F222-4ED2-949A-3DF31D842AA5}"/>
    <dgm:cxn modelId="{C5A5B7D7-006B-4998-8A19-CBC33A20BCB1}" type="presOf" srcId="{80609054-2891-4980-B58E-C723EA7FBF7F}" destId="{31775304-2651-453F-BE24-5761B5BBEB7E}" srcOrd="0" destOrd="0" presId="urn:microsoft.com/office/officeart/2005/8/layout/hierarchy3"/>
    <dgm:cxn modelId="{E1ED4EE2-E3AB-4084-B183-42741FF4A29E}" srcId="{5F64E49C-400F-482F-932E-690765A0C022}" destId="{F17F1358-CD5D-4C61-A104-38FAD3DCE1E0}" srcOrd="1" destOrd="0" parTransId="{1D979EB2-6C66-4EB5-8CD3-C2EE4CB89D9C}" sibTransId="{6AF437D9-F12C-4FB1-B037-870DD31C1775}"/>
    <dgm:cxn modelId="{341D6CE4-37F6-4BF5-9B03-42DC09D416DE}" type="presOf" srcId="{1D979EB2-6C66-4EB5-8CD3-C2EE4CB89D9C}" destId="{82715789-5A6E-42E7-AE77-4CCA967CF352}" srcOrd="0" destOrd="0" presId="urn:microsoft.com/office/officeart/2005/8/layout/hierarchy3"/>
    <dgm:cxn modelId="{0A64E5E6-D41C-4415-9638-0EA5C92384B6}" type="presOf" srcId="{E41ED792-3296-4435-B02A-CE0999187114}" destId="{20401F6E-2218-4903-935B-57A86E61C90F}" srcOrd="0" destOrd="0" presId="urn:microsoft.com/office/officeart/2005/8/layout/hierarchy3"/>
    <dgm:cxn modelId="{4A00AEE9-846E-4D59-88A8-3592B194F874}" srcId="{5F64E49C-400F-482F-932E-690765A0C022}" destId="{BAC722E1-27E2-488A-8921-87D1A70D96DA}" srcOrd="3" destOrd="0" parTransId="{80609054-2891-4980-B58E-C723EA7FBF7F}" sibTransId="{2E13CE31-357A-4322-A040-4997982119CD}"/>
    <dgm:cxn modelId="{3C8A14EA-6067-4B7C-860F-22FCA33AB9BF}" type="presOf" srcId="{DC648DE9-BDDE-47A8-81F3-A959FD1297ED}" destId="{A5C9992D-A915-4490-ACC7-ABD9AC8810AA}" srcOrd="0" destOrd="0" presId="urn:microsoft.com/office/officeart/2005/8/layout/hierarchy3"/>
    <dgm:cxn modelId="{69DE7DFF-5522-42C4-9299-1C5EF7D26A5B}" type="presOf" srcId="{924B1A7E-B826-4BB0-8EF1-B0AC649F5B87}" destId="{2A0EE326-4461-49A0-8B28-B96F6D74D1B5}" srcOrd="0" destOrd="0" presId="urn:microsoft.com/office/officeart/2005/8/layout/hierarchy3"/>
    <dgm:cxn modelId="{7F4073A9-D188-494C-9762-53B25D48ABB1}" type="presParOf" srcId="{E70590A1-CB01-42ED-8C65-49DC0EF7BFCF}" destId="{4351C1D7-3B9A-469C-9872-E64D1675B52B}" srcOrd="0" destOrd="0" presId="urn:microsoft.com/office/officeart/2005/8/layout/hierarchy3"/>
    <dgm:cxn modelId="{75C77001-04E0-4F60-900B-8A8570F67E69}" type="presParOf" srcId="{4351C1D7-3B9A-469C-9872-E64D1675B52B}" destId="{7B6A32A6-A91F-481E-BF3C-567CD07F9EBB}" srcOrd="0" destOrd="0" presId="urn:microsoft.com/office/officeart/2005/8/layout/hierarchy3"/>
    <dgm:cxn modelId="{2411DBA9-E39F-4699-9822-901E8CF7E27D}" type="presParOf" srcId="{7B6A32A6-A91F-481E-BF3C-567CD07F9EBB}" destId="{D2B160AE-60EE-49B1-AB0B-296A6F051F5D}" srcOrd="0" destOrd="0" presId="urn:microsoft.com/office/officeart/2005/8/layout/hierarchy3"/>
    <dgm:cxn modelId="{3CCD8760-33FF-46EF-8716-6F66F4BC3283}" type="presParOf" srcId="{7B6A32A6-A91F-481E-BF3C-567CD07F9EBB}" destId="{66AF27FE-DEEE-4493-8AB6-2DF75BD76863}" srcOrd="1" destOrd="0" presId="urn:microsoft.com/office/officeart/2005/8/layout/hierarchy3"/>
    <dgm:cxn modelId="{9340DBA3-9F45-49D9-8EE5-8CEB1AC13E5B}" type="presParOf" srcId="{4351C1D7-3B9A-469C-9872-E64D1675B52B}" destId="{7E6EDE5B-5DCC-483F-BDEE-F8B742382690}" srcOrd="1" destOrd="0" presId="urn:microsoft.com/office/officeart/2005/8/layout/hierarchy3"/>
    <dgm:cxn modelId="{A41E64E0-DCCC-4387-8821-1DA4EE953C81}" type="presParOf" srcId="{7E6EDE5B-5DCC-483F-BDEE-F8B742382690}" destId="{2880CEAC-AF94-4C40-9A65-AB091322C543}" srcOrd="0" destOrd="0" presId="urn:microsoft.com/office/officeart/2005/8/layout/hierarchy3"/>
    <dgm:cxn modelId="{9B111AF6-6423-4493-B241-8BDA7AA495CA}" type="presParOf" srcId="{7E6EDE5B-5DCC-483F-BDEE-F8B742382690}" destId="{BE348649-D026-4AD6-85CA-2B877E9CAC35}" srcOrd="1" destOrd="0" presId="urn:microsoft.com/office/officeart/2005/8/layout/hierarchy3"/>
    <dgm:cxn modelId="{6B31F224-7F79-4FCD-A52C-E9D3E67D1858}" type="presParOf" srcId="{7E6EDE5B-5DCC-483F-BDEE-F8B742382690}" destId="{82715789-5A6E-42E7-AE77-4CCA967CF352}" srcOrd="2" destOrd="0" presId="urn:microsoft.com/office/officeart/2005/8/layout/hierarchy3"/>
    <dgm:cxn modelId="{448DEB76-B66B-4951-AB65-721583812901}" type="presParOf" srcId="{7E6EDE5B-5DCC-483F-BDEE-F8B742382690}" destId="{708D8021-C0C5-469D-87AA-07CD20DD4549}" srcOrd="3" destOrd="0" presId="urn:microsoft.com/office/officeart/2005/8/layout/hierarchy3"/>
    <dgm:cxn modelId="{49E0D2F9-79F3-493C-8E5F-F90BC89EDDCE}" type="presParOf" srcId="{7E6EDE5B-5DCC-483F-BDEE-F8B742382690}" destId="{2937C455-D2D3-4F68-AB4C-42FDD485D8C6}" srcOrd="4" destOrd="0" presId="urn:microsoft.com/office/officeart/2005/8/layout/hierarchy3"/>
    <dgm:cxn modelId="{EC0F2470-4D34-4835-A088-1E4FCFBA5954}" type="presParOf" srcId="{7E6EDE5B-5DCC-483F-BDEE-F8B742382690}" destId="{4C3688E5-D649-458A-839E-2FA2629520C7}" srcOrd="5" destOrd="0" presId="urn:microsoft.com/office/officeart/2005/8/layout/hierarchy3"/>
    <dgm:cxn modelId="{00D8F09D-442C-40E2-A335-CAC2C3F42F74}" type="presParOf" srcId="{7E6EDE5B-5DCC-483F-BDEE-F8B742382690}" destId="{31775304-2651-453F-BE24-5761B5BBEB7E}" srcOrd="6" destOrd="0" presId="urn:microsoft.com/office/officeart/2005/8/layout/hierarchy3"/>
    <dgm:cxn modelId="{77D3D870-D1E9-4553-9A2C-707F4BC88203}" type="presParOf" srcId="{7E6EDE5B-5DCC-483F-BDEE-F8B742382690}" destId="{6A61774E-83D5-4C66-A999-6CF5CF49A64C}" srcOrd="7" destOrd="0" presId="urn:microsoft.com/office/officeart/2005/8/layout/hierarchy3"/>
    <dgm:cxn modelId="{90D59F99-9644-4E5A-BA42-D2C0C2548BB4}" type="presParOf" srcId="{E70590A1-CB01-42ED-8C65-49DC0EF7BFCF}" destId="{9E4CA38E-236B-414C-937B-65B84A432F52}" srcOrd="1" destOrd="0" presId="urn:microsoft.com/office/officeart/2005/8/layout/hierarchy3"/>
    <dgm:cxn modelId="{DBF5F789-CF8D-4D27-A141-746333BECD95}" type="presParOf" srcId="{9E4CA38E-236B-414C-937B-65B84A432F52}" destId="{FA55899F-4636-465C-85F6-D23E39502DBD}" srcOrd="0" destOrd="0" presId="urn:microsoft.com/office/officeart/2005/8/layout/hierarchy3"/>
    <dgm:cxn modelId="{D23B518E-DBE7-456F-A655-A062760486F0}" type="presParOf" srcId="{FA55899F-4636-465C-85F6-D23E39502DBD}" destId="{67C2E270-FB59-4561-A7E8-476C78CD8D65}" srcOrd="0" destOrd="0" presId="urn:microsoft.com/office/officeart/2005/8/layout/hierarchy3"/>
    <dgm:cxn modelId="{AD53B8E5-C39A-4B2D-84CD-7BD53FD18B66}" type="presParOf" srcId="{FA55899F-4636-465C-85F6-D23E39502DBD}" destId="{FC1076BF-86E3-43BF-8D53-667BA5403AA5}" srcOrd="1" destOrd="0" presId="urn:microsoft.com/office/officeart/2005/8/layout/hierarchy3"/>
    <dgm:cxn modelId="{F72EC414-02AC-4E00-820F-54238FE08BAA}" type="presParOf" srcId="{9E4CA38E-236B-414C-937B-65B84A432F52}" destId="{4288AC2B-1765-4A47-A5DC-0F21AA7DD0D4}" srcOrd="1" destOrd="0" presId="urn:microsoft.com/office/officeart/2005/8/layout/hierarchy3"/>
    <dgm:cxn modelId="{3669207A-7BB1-41A9-9623-9530350FE5ED}" type="presParOf" srcId="{4288AC2B-1765-4A47-A5DC-0F21AA7DD0D4}" destId="{7600C868-8761-4D6B-970B-F745E516C266}" srcOrd="0" destOrd="0" presId="urn:microsoft.com/office/officeart/2005/8/layout/hierarchy3"/>
    <dgm:cxn modelId="{1E484C21-4767-451B-975C-1019947986E0}" type="presParOf" srcId="{4288AC2B-1765-4A47-A5DC-0F21AA7DD0D4}" destId="{A5C9992D-A915-4490-ACC7-ABD9AC8810AA}" srcOrd="1" destOrd="0" presId="urn:microsoft.com/office/officeart/2005/8/layout/hierarchy3"/>
    <dgm:cxn modelId="{111C5EBC-6996-46C8-AB35-80DADDA954DB}" type="presParOf" srcId="{4288AC2B-1765-4A47-A5DC-0F21AA7DD0D4}" destId="{0F5C3FBD-F0D7-457A-8A3D-F894E135081D}" srcOrd="2" destOrd="0" presId="urn:microsoft.com/office/officeart/2005/8/layout/hierarchy3"/>
    <dgm:cxn modelId="{2F90C6BB-437C-4E50-A557-F832FF216AC0}" type="presParOf" srcId="{4288AC2B-1765-4A47-A5DC-0F21AA7DD0D4}" destId="{0D4EFF92-B00F-433D-8E13-404EC2F306DD}" srcOrd="3" destOrd="0" presId="urn:microsoft.com/office/officeart/2005/8/layout/hierarchy3"/>
    <dgm:cxn modelId="{F98C808B-C11F-4DB0-9ADE-438566C2BB68}" type="presParOf" srcId="{4288AC2B-1765-4A47-A5DC-0F21AA7DD0D4}" destId="{5B8F671E-5E77-48D4-AD23-415D145D72FF}" srcOrd="4" destOrd="0" presId="urn:microsoft.com/office/officeart/2005/8/layout/hierarchy3"/>
    <dgm:cxn modelId="{445F1829-623C-4E31-B94A-F00158C5661C}" type="presParOf" srcId="{4288AC2B-1765-4A47-A5DC-0F21AA7DD0D4}" destId="{B1758A4B-FB01-4E33-B580-15E296A5DAF6}" srcOrd="5" destOrd="0" presId="urn:microsoft.com/office/officeart/2005/8/layout/hierarchy3"/>
    <dgm:cxn modelId="{BC72CD9B-3B43-48DA-B82E-8215539B765A}" type="presParOf" srcId="{4288AC2B-1765-4A47-A5DC-0F21AA7DD0D4}" destId="{924D06F6-7185-4D77-992C-D0E42528A2B9}" srcOrd="6" destOrd="0" presId="urn:microsoft.com/office/officeart/2005/8/layout/hierarchy3"/>
    <dgm:cxn modelId="{4DDF8161-70B5-4EED-8EF1-C0052E4B30C3}" type="presParOf" srcId="{4288AC2B-1765-4A47-A5DC-0F21AA7DD0D4}" destId="{20401F6E-2218-4903-935B-57A86E61C90F}" srcOrd="7" destOrd="0" presId="urn:microsoft.com/office/officeart/2005/8/layout/hierarchy3"/>
    <dgm:cxn modelId="{C37B5B48-E007-468E-8C99-83EE9CFD4325}" type="presParOf" srcId="{E70590A1-CB01-42ED-8C65-49DC0EF7BFCF}" destId="{B99A5C08-291D-495E-B605-44391234B86D}" srcOrd="2" destOrd="0" presId="urn:microsoft.com/office/officeart/2005/8/layout/hierarchy3"/>
    <dgm:cxn modelId="{FEAD158C-7DC3-4905-AA70-846C013C1D3E}" type="presParOf" srcId="{B99A5C08-291D-495E-B605-44391234B86D}" destId="{89A92BDF-B959-4160-8E20-68391CBF0155}" srcOrd="0" destOrd="0" presId="urn:microsoft.com/office/officeart/2005/8/layout/hierarchy3"/>
    <dgm:cxn modelId="{F56F4567-7575-4296-8600-E81092BF4F06}" type="presParOf" srcId="{89A92BDF-B959-4160-8E20-68391CBF0155}" destId="{FAF89C5A-7A86-4798-8D7C-6493155A2469}" srcOrd="0" destOrd="0" presId="urn:microsoft.com/office/officeart/2005/8/layout/hierarchy3"/>
    <dgm:cxn modelId="{E751F6C3-CBE5-4072-8109-F3411E41B08C}" type="presParOf" srcId="{89A92BDF-B959-4160-8E20-68391CBF0155}" destId="{AC3F0DCD-B575-4F76-93DC-D90C4B2CF804}" srcOrd="1" destOrd="0" presId="urn:microsoft.com/office/officeart/2005/8/layout/hierarchy3"/>
    <dgm:cxn modelId="{7E65161B-9BE5-440A-83E1-C61AB3C94406}" type="presParOf" srcId="{B99A5C08-291D-495E-B605-44391234B86D}" destId="{493E952A-5B84-4DA1-9FD2-229522C3550F}" srcOrd="1" destOrd="0" presId="urn:microsoft.com/office/officeart/2005/8/layout/hierarchy3"/>
    <dgm:cxn modelId="{BBF50165-C161-48B0-9668-B407C8682D30}" type="presParOf" srcId="{493E952A-5B84-4DA1-9FD2-229522C3550F}" destId="{BE3EAFF3-E1C7-4061-8753-EBACC9EDA0AF}" srcOrd="0" destOrd="0" presId="urn:microsoft.com/office/officeart/2005/8/layout/hierarchy3"/>
    <dgm:cxn modelId="{8AFF2B07-A6B9-4395-98A6-EF48AA09C87F}" type="presParOf" srcId="{493E952A-5B84-4DA1-9FD2-229522C3550F}" destId="{7F8FE4A9-0DE9-49DD-810F-605F5E5FF114}" srcOrd="1" destOrd="0" presId="urn:microsoft.com/office/officeart/2005/8/layout/hierarchy3"/>
    <dgm:cxn modelId="{53E562EE-E977-4687-9653-15ABF10040FD}" type="presParOf" srcId="{493E952A-5B84-4DA1-9FD2-229522C3550F}" destId="{F88DB0F4-A17F-4688-95B1-5FA6C6295493}" srcOrd="2" destOrd="0" presId="urn:microsoft.com/office/officeart/2005/8/layout/hierarchy3"/>
    <dgm:cxn modelId="{01A3BB01-DE49-4C8F-B4E8-D4E76A45D0BE}" type="presParOf" srcId="{493E952A-5B84-4DA1-9FD2-229522C3550F}" destId="{2925C952-3C69-4BC8-8352-D45A11665B31}" srcOrd="3" destOrd="0" presId="urn:microsoft.com/office/officeart/2005/8/layout/hierarchy3"/>
    <dgm:cxn modelId="{C8CAC8E0-FCAC-4DA3-AFC3-30DD50077954}" type="presParOf" srcId="{493E952A-5B84-4DA1-9FD2-229522C3550F}" destId="{EAAEDE6B-8CD4-4EFC-92C6-DE3061D75F24}" srcOrd="4" destOrd="0" presId="urn:microsoft.com/office/officeart/2005/8/layout/hierarchy3"/>
    <dgm:cxn modelId="{2D5EF161-C225-4EFF-BEDE-B16F7ADCC58F}" type="presParOf" srcId="{493E952A-5B84-4DA1-9FD2-229522C3550F}" destId="{03C82D46-1174-4CED-825B-3A011305C6ED}" srcOrd="5" destOrd="0" presId="urn:microsoft.com/office/officeart/2005/8/layout/hierarchy3"/>
    <dgm:cxn modelId="{4250EC1B-F1E2-4A29-800F-6B824FA22E12}" type="presParOf" srcId="{493E952A-5B84-4DA1-9FD2-229522C3550F}" destId="{2A0EE326-4461-49A0-8B28-B96F6D74D1B5}" srcOrd="6" destOrd="0" presId="urn:microsoft.com/office/officeart/2005/8/layout/hierarchy3"/>
    <dgm:cxn modelId="{1A3AB950-0266-420E-B36D-DAC647CCEC64}" type="presParOf" srcId="{493E952A-5B84-4DA1-9FD2-229522C3550F}" destId="{55815F01-5A78-42B0-8152-CF4C68EABA67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B160AE-60EE-49B1-AB0B-296A6F051F5D}">
      <dsp:nvSpPr>
        <dsp:cNvPr id="0" name=""/>
        <dsp:cNvSpPr/>
      </dsp:nvSpPr>
      <dsp:spPr>
        <a:xfrm>
          <a:off x="525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Morgen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23053" y="1055991"/>
        <a:ext cx="1457376" cy="724123"/>
      </dsp:txXfrm>
    </dsp:sp>
    <dsp:sp modelId="{2880CEAC-AF94-4C40-9A65-AB091322C543}">
      <dsp:nvSpPr>
        <dsp:cNvPr id="0" name=""/>
        <dsp:cNvSpPr/>
      </dsp:nvSpPr>
      <dsp:spPr>
        <a:xfrm>
          <a:off x="150768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348649-D026-4AD6-85CA-2B877E9CAC35}">
      <dsp:nvSpPr>
        <dsp:cNvPr id="0" name=""/>
        <dsp:cNvSpPr/>
      </dsp:nvSpPr>
      <dsp:spPr>
        <a:xfrm>
          <a:off x="301011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318684" y="1971166"/>
        <a:ext cx="930095" cy="568055"/>
      </dsp:txXfrm>
    </dsp:sp>
    <dsp:sp modelId="{82715789-5A6E-42E7-AE77-4CCA967CF352}">
      <dsp:nvSpPr>
        <dsp:cNvPr id="0" name=""/>
        <dsp:cNvSpPr/>
      </dsp:nvSpPr>
      <dsp:spPr>
        <a:xfrm>
          <a:off x="150768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8D8021-C0C5-469D-87AA-07CD20DD4549}">
      <dsp:nvSpPr>
        <dsp:cNvPr id="0" name=""/>
        <dsp:cNvSpPr/>
      </dsp:nvSpPr>
      <dsp:spPr>
        <a:xfrm>
          <a:off x="301011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08:15 Uhr</a:t>
          </a:r>
        </a:p>
      </dsp:txBody>
      <dsp:txXfrm>
        <a:off x="318684" y="2725418"/>
        <a:ext cx="1166600" cy="568055"/>
      </dsp:txXfrm>
    </dsp:sp>
    <dsp:sp modelId="{2937C455-D2D3-4F68-AB4C-42FDD485D8C6}">
      <dsp:nvSpPr>
        <dsp:cNvPr id="0" name=""/>
        <dsp:cNvSpPr/>
      </dsp:nvSpPr>
      <dsp:spPr>
        <a:xfrm>
          <a:off x="150768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3688E5-D649-458A-839E-2FA2629520C7}">
      <dsp:nvSpPr>
        <dsp:cNvPr id="0" name=""/>
        <dsp:cNvSpPr/>
      </dsp:nvSpPr>
      <dsp:spPr>
        <a:xfrm>
          <a:off x="301011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318684" y="3479669"/>
        <a:ext cx="1166600" cy="568055"/>
      </dsp:txXfrm>
    </dsp:sp>
    <dsp:sp modelId="{31775304-2651-453F-BE24-5761B5BBEB7E}">
      <dsp:nvSpPr>
        <dsp:cNvPr id="0" name=""/>
        <dsp:cNvSpPr/>
      </dsp:nvSpPr>
      <dsp:spPr>
        <a:xfrm>
          <a:off x="150768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61774E-83D5-4C66-A999-6CF5CF49A64C}">
      <dsp:nvSpPr>
        <dsp:cNvPr id="0" name=""/>
        <dsp:cNvSpPr/>
      </dsp:nvSpPr>
      <dsp:spPr>
        <a:xfrm>
          <a:off x="301011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1:55 Uhr</a:t>
          </a:r>
        </a:p>
      </dsp:txBody>
      <dsp:txXfrm>
        <a:off x="318684" y="4233921"/>
        <a:ext cx="1166600" cy="568055"/>
      </dsp:txXfrm>
    </dsp:sp>
    <dsp:sp modelId="{67C2E270-FB59-4561-A7E8-476C78CD8D65}">
      <dsp:nvSpPr>
        <dsp:cNvPr id="0" name=""/>
        <dsp:cNvSpPr/>
      </dsp:nvSpPr>
      <dsp:spPr>
        <a:xfrm>
          <a:off x="1804658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Nachmittag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1827186" y="1055991"/>
        <a:ext cx="1457376" cy="724123"/>
      </dsp:txXfrm>
    </dsp:sp>
    <dsp:sp modelId="{7600C868-8761-4D6B-970B-F745E516C266}">
      <dsp:nvSpPr>
        <dsp:cNvPr id="0" name=""/>
        <dsp:cNvSpPr/>
      </dsp:nvSpPr>
      <dsp:spPr>
        <a:xfrm>
          <a:off x="1954901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C9992D-A915-4490-ACC7-ABD9AC8810AA}">
      <dsp:nvSpPr>
        <dsp:cNvPr id="0" name=""/>
        <dsp:cNvSpPr/>
      </dsp:nvSpPr>
      <dsp:spPr>
        <a:xfrm>
          <a:off x="2105145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2122818" y="1971166"/>
        <a:ext cx="930095" cy="568055"/>
      </dsp:txXfrm>
    </dsp:sp>
    <dsp:sp modelId="{0F5C3FBD-F0D7-457A-8A3D-F894E135081D}">
      <dsp:nvSpPr>
        <dsp:cNvPr id="0" name=""/>
        <dsp:cNvSpPr/>
      </dsp:nvSpPr>
      <dsp:spPr>
        <a:xfrm>
          <a:off x="1954901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4EFF92-B00F-433D-8E13-404EC2F306DD}">
      <dsp:nvSpPr>
        <dsp:cNvPr id="0" name=""/>
        <dsp:cNvSpPr/>
      </dsp:nvSpPr>
      <dsp:spPr>
        <a:xfrm>
          <a:off x="2105145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3:15 Uhr</a:t>
          </a:r>
        </a:p>
      </dsp:txBody>
      <dsp:txXfrm>
        <a:off x="2122818" y="2725418"/>
        <a:ext cx="1166600" cy="568055"/>
      </dsp:txXfrm>
    </dsp:sp>
    <dsp:sp modelId="{5B8F671E-5E77-48D4-AD23-415D145D72FF}">
      <dsp:nvSpPr>
        <dsp:cNvPr id="0" name=""/>
        <dsp:cNvSpPr/>
      </dsp:nvSpPr>
      <dsp:spPr>
        <a:xfrm>
          <a:off x="1954901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758A4B-FB01-4E33-B580-15E296A5DAF6}">
      <dsp:nvSpPr>
        <dsp:cNvPr id="0" name=""/>
        <dsp:cNvSpPr/>
      </dsp:nvSpPr>
      <dsp:spPr>
        <a:xfrm>
          <a:off x="2105145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2122818" y="3479669"/>
        <a:ext cx="1166600" cy="568055"/>
      </dsp:txXfrm>
    </dsp:sp>
    <dsp:sp modelId="{924D06F6-7185-4D77-992C-D0E42528A2B9}">
      <dsp:nvSpPr>
        <dsp:cNvPr id="0" name=""/>
        <dsp:cNvSpPr/>
      </dsp:nvSpPr>
      <dsp:spPr>
        <a:xfrm>
          <a:off x="1954901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401F6E-2218-4903-935B-57A86E61C90F}">
      <dsp:nvSpPr>
        <dsp:cNvPr id="0" name=""/>
        <dsp:cNvSpPr/>
      </dsp:nvSpPr>
      <dsp:spPr>
        <a:xfrm>
          <a:off x="2105145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6:40 Uhr</a:t>
          </a:r>
        </a:p>
      </dsp:txBody>
      <dsp:txXfrm>
        <a:off x="2122818" y="4233921"/>
        <a:ext cx="1166600" cy="568055"/>
      </dsp:txXfrm>
    </dsp:sp>
    <dsp:sp modelId="{FAF89C5A-7A86-4798-8D7C-6493155A2469}">
      <dsp:nvSpPr>
        <dsp:cNvPr id="0" name=""/>
        <dsp:cNvSpPr/>
      </dsp:nvSpPr>
      <dsp:spPr>
        <a:xfrm>
          <a:off x="3608791" y="1033463"/>
          <a:ext cx="1502432" cy="76917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Abends</a:t>
          </a:r>
          <a:br>
            <a:rPr lang="de-CH" sz="1900" kern="1200" dirty="0"/>
          </a:br>
          <a:r>
            <a:rPr lang="de-CH" sz="1900" kern="1200" dirty="0"/>
            <a:t>von…</a:t>
          </a:r>
        </a:p>
      </dsp:txBody>
      <dsp:txXfrm>
        <a:off x="3631319" y="1055991"/>
        <a:ext cx="1457376" cy="724123"/>
      </dsp:txXfrm>
    </dsp:sp>
    <dsp:sp modelId="{BE3EAFF3-E1C7-4061-8753-EBACC9EDA0AF}">
      <dsp:nvSpPr>
        <dsp:cNvPr id="0" name=""/>
        <dsp:cNvSpPr/>
      </dsp:nvSpPr>
      <dsp:spPr>
        <a:xfrm>
          <a:off x="3759035" y="1802643"/>
          <a:ext cx="150243" cy="452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2550"/>
              </a:lnTo>
              <a:lnTo>
                <a:pt x="150243" y="45255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8FE4A9-0DE9-49DD-810F-605F5E5FF114}">
      <dsp:nvSpPr>
        <dsp:cNvPr id="0" name=""/>
        <dsp:cNvSpPr/>
      </dsp:nvSpPr>
      <dsp:spPr>
        <a:xfrm>
          <a:off x="3909278" y="1953493"/>
          <a:ext cx="965441" cy="60340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900" kern="1200" dirty="0"/>
        </a:p>
      </dsp:txBody>
      <dsp:txXfrm>
        <a:off x="3926951" y="1971166"/>
        <a:ext cx="930095" cy="568055"/>
      </dsp:txXfrm>
    </dsp:sp>
    <dsp:sp modelId="{F88DB0F4-A17F-4688-95B1-5FA6C6295493}">
      <dsp:nvSpPr>
        <dsp:cNvPr id="0" name=""/>
        <dsp:cNvSpPr/>
      </dsp:nvSpPr>
      <dsp:spPr>
        <a:xfrm>
          <a:off x="3759035" y="1802643"/>
          <a:ext cx="150243" cy="1206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6802"/>
              </a:lnTo>
              <a:lnTo>
                <a:pt x="150243" y="12068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25C952-3C69-4BC8-8352-D45A11665B31}">
      <dsp:nvSpPr>
        <dsp:cNvPr id="0" name=""/>
        <dsp:cNvSpPr/>
      </dsp:nvSpPr>
      <dsp:spPr>
        <a:xfrm>
          <a:off x="3909278" y="2707745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18:10 Uhr</a:t>
          </a:r>
        </a:p>
      </dsp:txBody>
      <dsp:txXfrm>
        <a:off x="3926951" y="2725418"/>
        <a:ext cx="1166600" cy="568055"/>
      </dsp:txXfrm>
    </dsp:sp>
    <dsp:sp modelId="{EAAEDE6B-8CD4-4EFC-92C6-DE3061D75F24}">
      <dsp:nvSpPr>
        <dsp:cNvPr id="0" name=""/>
        <dsp:cNvSpPr/>
      </dsp:nvSpPr>
      <dsp:spPr>
        <a:xfrm>
          <a:off x="3759035" y="1802643"/>
          <a:ext cx="150243" cy="1961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1053"/>
              </a:lnTo>
              <a:lnTo>
                <a:pt x="150243" y="196105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C82D46-1174-4CED-825B-3A011305C6ED}">
      <dsp:nvSpPr>
        <dsp:cNvPr id="0" name=""/>
        <dsp:cNvSpPr/>
      </dsp:nvSpPr>
      <dsp:spPr>
        <a:xfrm>
          <a:off x="3909278" y="3461996"/>
          <a:ext cx="1201946" cy="6034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bis</a:t>
          </a:r>
        </a:p>
      </dsp:txBody>
      <dsp:txXfrm>
        <a:off x="3926951" y="3479669"/>
        <a:ext cx="1166600" cy="568055"/>
      </dsp:txXfrm>
    </dsp:sp>
    <dsp:sp modelId="{2A0EE326-4461-49A0-8B28-B96F6D74D1B5}">
      <dsp:nvSpPr>
        <dsp:cNvPr id="0" name=""/>
        <dsp:cNvSpPr/>
      </dsp:nvSpPr>
      <dsp:spPr>
        <a:xfrm>
          <a:off x="3759035" y="1802643"/>
          <a:ext cx="150243" cy="2715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305"/>
              </a:lnTo>
              <a:lnTo>
                <a:pt x="150243" y="2715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5815F01-5A78-42B0-8152-CF4C68EABA67}">
      <dsp:nvSpPr>
        <dsp:cNvPr id="0" name=""/>
        <dsp:cNvSpPr/>
      </dsp:nvSpPr>
      <dsp:spPr>
        <a:xfrm>
          <a:off x="3909278" y="4216248"/>
          <a:ext cx="1201946" cy="603401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900" kern="1200" dirty="0"/>
            <a:t>21:50 Uhr</a:t>
          </a:r>
        </a:p>
      </dsp:txBody>
      <dsp:txXfrm>
        <a:off x="3926951" y="4233921"/>
        <a:ext cx="1166600" cy="5680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4ACB94-5BAC-4F55-A7FE-E6180EA7F687}" type="datetimeFigureOut">
              <a:rPr lang="en-GB" smtClean="0"/>
              <a:t>25/05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3FD587-A6FE-45BE-A776-8C3214E1B1D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416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32BD7CE-1167-4F36-9CBA-4A98DD6F152D}"/>
              </a:ext>
            </a:extLst>
          </p:cNvPr>
          <p:cNvSpPr/>
          <p:nvPr userDrawn="1"/>
        </p:nvSpPr>
        <p:spPr>
          <a:xfrm>
            <a:off x="0" y="0"/>
            <a:ext cx="12192000" cy="68803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F2C7E70-B496-44F2-BB79-F2E899CEA154}"/>
              </a:ext>
            </a:extLst>
          </p:cNvPr>
          <p:cNvSpPr/>
          <p:nvPr userDrawn="1"/>
        </p:nvSpPr>
        <p:spPr>
          <a:xfrm>
            <a:off x="712788" y="797813"/>
            <a:ext cx="10850561" cy="2304000"/>
          </a:xfrm>
          <a:prstGeom prst="rect">
            <a:avLst/>
          </a:prstGeom>
          <a:solidFill>
            <a:srgbClr val="289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22F232DD-6B75-40CB-935C-7A502AA5AF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53796" y="368300"/>
            <a:ext cx="1684407" cy="140709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C2847F-4CDD-4598-B1FC-2175A061C1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42FD13E-8089-4715-9E54-04D630EE1939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595AC1-AB8B-499D-8568-C3EA39C1F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A823CC-8172-4A40-8730-A3E74B5CA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C07364C-E8F1-4D33-B9F6-B7047B9F0A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6236" y="5467349"/>
            <a:ext cx="1027113" cy="1027113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2C0631C4-3567-4EAF-9E64-54F84B217BA7}"/>
              </a:ext>
            </a:extLst>
          </p:cNvPr>
          <p:cNvSpPr>
            <a:spLocks/>
          </p:cNvSpPr>
          <p:nvPr userDrawn="1"/>
        </p:nvSpPr>
        <p:spPr>
          <a:xfrm>
            <a:off x="9420265" y="6355835"/>
            <a:ext cx="856004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ubschule.ch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4EE0B7A-22F1-4AF0-8285-80CD8206FF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2680" y="2694340"/>
            <a:ext cx="10210777" cy="323165"/>
          </a:xfrm>
        </p:spPr>
        <p:txBody>
          <a:bodyPr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D972485-8FF8-4561-A4DE-1FAAB5D1B8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788" y="3101812"/>
            <a:ext cx="10850561" cy="1975263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E31C5615-3647-4C0D-B997-78A377FD2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2680" y="1792669"/>
            <a:ext cx="10210777" cy="817364"/>
          </a:xfrm>
        </p:spPr>
        <p:txBody>
          <a:bodyPr wrap="square" anchor="t"/>
          <a:lstStyle>
            <a:lvl1pPr algn="ctr">
              <a:defRPr b="1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B80BCCB-66D0-4264-943F-9F5A6C58AD6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8112" y="266722"/>
            <a:ext cx="1200150" cy="11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4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C9EF7CC-7160-4A70-AE86-5DBAC29DEA10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55D0BD-5A8E-487B-B9F5-9A1BD00C62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86537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E177658-C751-476E-BC8F-F323F6B4D0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02113" y="371251"/>
            <a:ext cx="720000" cy="720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EEE25028-DB22-457D-BCC7-43776CA5FF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5531685"/>
            <a:ext cx="3321794" cy="640515"/>
          </a:xfrm>
          <a:solidFill>
            <a:schemeClr val="accent1"/>
          </a:solidFill>
        </p:spPr>
        <p:txBody>
          <a:bodyPr lIns="180000" tIns="180000" rIns="180000" bIns="180000" anchor="b">
            <a:spAutoFit/>
          </a:bodyPr>
          <a:lstStyle>
            <a:lvl1pPr algn="l">
              <a:lnSpc>
                <a:spcPct val="100000"/>
              </a:lnSpc>
              <a:defRPr sz="18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6823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A6CAB6-ED23-4A1D-A9E9-37C8001520FE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3504" y="1590338"/>
            <a:ext cx="10125175" cy="4581547"/>
          </a:xfrm>
        </p:spPr>
        <p:txBody>
          <a:bodyPr/>
          <a:lstStyle>
            <a:lvl1pPr marL="288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 b="1"/>
            </a:lvl1pPr>
            <a:lvl2pPr marL="576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 b="0"/>
            </a:lvl2pPr>
            <a:lvl3pPr marL="864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romanLcPeriod"/>
              <a:defRPr sz="1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 dirty="0"/>
              <a:t>Object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2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Gebäude, Boden, stehend, drinnen enthält.&#10;&#10;Automatisch generierte Beschreibung">
            <a:extLst>
              <a:ext uri="{FF2B5EF4-FFF2-40B4-BE49-F238E27FC236}">
                <a16:creationId xmlns:a16="http://schemas.microsoft.com/office/drawing/2014/main" id="{D60931A2-CD41-4CF5-A5D9-FE2A587647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" t="4383" r="14454" b="10083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F12FA9A-AF4A-42DE-B112-26AD5A7400BF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289CCC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6476284-A482-4F97-9CD1-D60E05430A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732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2332FE-E513-45C0-9C0F-189A651EF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DDBCB3-4815-487E-B53E-ED39FACE4239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7315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262B-A704-40BD-8D5A-F49453B4B7FF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10125175" cy="458154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039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3E404-FD53-4BED-81DD-EFDFA755F5A0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4882588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ADE07766-CBCE-4B8D-AF60-1285287DA4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956091" y="1590338"/>
            <a:ext cx="4882588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413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4C6E61-33B0-4614-86FA-BD56AFCFC371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38D8E3BA-8C7B-444B-AD37-3DB1D6E464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08561" y="1590338"/>
            <a:ext cx="6643109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E0EEC92-BF6B-493B-B27A-2F80BCBC84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3504" y="1590338"/>
            <a:ext cx="3135058" cy="458154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666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28AA-DBEE-466D-8864-C78B85132050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E0EEC92-BF6B-493B-B27A-2F80BCBC84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16612" y="1590338"/>
            <a:ext cx="3135058" cy="458154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38D8E3BA-8C7B-444B-AD37-3DB1D6E464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13504" y="1590338"/>
            <a:ext cx="6643109" cy="458154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114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8C097-0EE3-42F6-B0E9-133EA229E7B6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55D0BD-5A8E-487B-B9F5-9A1BD00C62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89088"/>
            <a:ext cx="12192000" cy="458311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72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A2333A8-4346-4BC3-BE40-49339B035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3349" y="450232"/>
            <a:ext cx="7717330" cy="6362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4A800A0-EB66-4747-9E58-274539A0BB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504" y="1590338"/>
            <a:ext cx="10125175" cy="4581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en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B74DD6-C5D3-4A3A-B659-26AF7932B3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504" y="6518631"/>
            <a:ext cx="1132033" cy="3467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2300F8E1-51FB-47BB-A388-C101BF648599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216E4AD-5597-4EA2-A523-4BEFA2C5A3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5537" y="6518631"/>
            <a:ext cx="9006134" cy="3467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C6A50A-F83C-48C6-89E8-79FC5A8E6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1638" y="6509395"/>
            <a:ext cx="720000" cy="35597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defRPr sz="800" b="1">
                <a:solidFill>
                  <a:schemeClr val="tx1"/>
                </a:solidFill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55F3DEB-114D-42C1-A4EA-1EE70450C97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1497" y="5434013"/>
            <a:ext cx="720000" cy="720000"/>
          </a:xfrm>
          <a:prstGeom prst="rect">
            <a:avLst/>
          </a:prstGeom>
        </p:spPr>
      </p:pic>
      <p:cxnSp>
        <p:nvCxnSpPr>
          <p:cNvPr id="8" name="Gerade Verbindung 16">
            <a:extLst>
              <a:ext uri="{FF2B5EF4-FFF2-40B4-BE49-F238E27FC236}">
                <a16:creationId xmlns:a16="http://schemas.microsoft.com/office/drawing/2014/main" id="{75BCA584-0D2D-40BB-95CE-D607F3C95A93}"/>
              </a:ext>
            </a:extLst>
          </p:cNvPr>
          <p:cNvCxnSpPr>
            <a:cxnSpLocks/>
          </p:cNvCxnSpPr>
          <p:nvPr userDrawn="1"/>
        </p:nvCxnSpPr>
        <p:spPr>
          <a:xfrm>
            <a:off x="713504" y="6518631"/>
            <a:ext cx="10125175" cy="0"/>
          </a:xfrm>
          <a:prstGeom prst="line">
            <a:avLst/>
          </a:prstGeom>
          <a:ln>
            <a:solidFill>
              <a:schemeClr val="tx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7">
            <a:extLst>
              <a:ext uri="{FF2B5EF4-FFF2-40B4-BE49-F238E27FC236}">
                <a16:creationId xmlns:a16="http://schemas.microsoft.com/office/drawing/2014/main" id="{56DEDD93-E190-4C4F-B8CE-6A197B9E4206}"/>
              </a:ext>
            </a:extLst>
          </p:cNvPr>
          <p:cNvCxnSpPr>
            <a:cxnSpLocks/>
          </p:cNvCxnSpPr>
          <p:nvPr userDrawn="1"/>
        </p:nvCxnSpPr>
        <p:spPr>
          <a:xfrm>
            <a:off x="11102113" y="6518631"/>
            <a:ext cx="720000" cy="0"/>
          </a:xfrm>
          <a:prstGeom prst="line">
            <a:avLst/>
          </a:prstGeom>
          <a:ln>
            <a:solidFill>
              <a:schemeClr val="tx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MigrosClassification_P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5914182" y="190500"/>
            <a:ext cx="363636" cy="363636"/>
          </a:xfrm>
          <a:prstGeom prst="rect">
            <a:avLst/>
          </a:prstGeom>
        </p:spPr>
      </p:pic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D58A026-5170-415D-91F5-A5B2E824714E}"/>
              </a:ext>
            </a:extLst>
          </p:cNvPr>
          <p:cNvSpPr>
            <a:spLocks noGrp="1"/>
          </p:cNvSpPr>
          <p:nvPr userDrawn="1"/>
        </p:nvSpPr>
        <p:spPr>
          <a:xfrm>
            <a:off x="10259909" y="267478"/>
            <a:ext cx="1684407" cy="1407096"/>
          </a:xfrm>
          <a:prstGeom prst="rect">
            <a:avLst/>
          </a:prstGeom>
          <a:blipFill dpi="0" rotWithShape="1">
            <a:blip r:embed="rId14"/>
            <a:srcRect/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CA48E63-5875-4E69-A766-F0B9B650886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540905" y="267478"/>
            <a:ext cx="1200150" cy="11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395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77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152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440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72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9">
          <p15:clr>
            <a:srgbClr val="F26B43"/>
          </p15:clr>
        </p15:guide>
        <p15:guide id="2" pos="6828">
          <p15:clr>
            <a:srgbClr val="F26B43"/>
          </p15:clr>
        </p15:guide>
        <p15:guide id="3" orient="horz" pos="284">
          <p15:clr>
            <a:srgbClr val="F26B43"/>
          </p15:clr>
        </p15:guide>
        <p15:guide id="4" orient="horz" pos="686">
          <p15:clr>
            <a:srgbClr val="F26B43"/>
          </p15:clr>
        </p15:guide>
        <p15:guide id="5" orient="horz" pos="1001">
          <p15:clr>
            <a:srgbClr val="F26B43"/>
          </p15:clr>
        </p15:guide>
        <p15:guide id="6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738D1EC-B3BC-4AEB-8D60-56F3F27BA6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B203E-DFFB-481A-961A-AA74072A1EE4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9A2B36-AF89-473C-A98C-9183E99D5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2C3EDAA-95D0-43CF-8411-5DD6057B17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0610" y="2298699"/>
            <a:ext cx="10210777" cy="323165"/>
          </a:xfrm>
        </p:spPr>
        <p:txBody>
          <a:bodyPr/>
          <a:lstStyle/>
          <a:p>
            <a:r>
              <a:rPr lang="de-CH" sz="4400" dirty="0"/>
              <a:t>Herzlich willkommen</a:t>
            </a:r>
            <a:endParaRPr lang="en-GB" sz="4400" dirty="0"/>
          </a:p>
        </p:txBody>
      </p:sp>
      <p:pic>
        <p:nvPicPr>
          <p:cNvPr id="15" name="Bildplatzhalter 14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32E941CE-7090-4D93-B4DD-7BDDBCF8BC1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542" b="37542"/>
          <a:stretch/>
        </p:blipFill>
        <p:spPr>
          <a:xfrm>
            <a:off x="712788" y="3116063"/>
            <a:ext cx="10850561" cy="1961012"/>
          </a:xfrm>
        </p:spPr>
      </p:pic>
      <p:sp>
        <p:nvSpPr>
          <p:cNvPr id="12" name="Titel 11">
            <a:extLst>
              <a:ext uri="{FF2B5EF4-FFF2-40B4-BE49-F238E27FC236}">
                <a16:creationId xmlns:a16="http://schemas.microsoft.com/office/drawing/2014/main" id="{8939B03F-D1C0-4CBB-92DE-B84B6DAA5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rd</a:t>
            </a:r>
            <a:r>
              <a:rPr lang="de-DE" dirty="0"/>
              <a:t> </a:t>
            </a:r>
            <a:r>
              <a:rPr lang="de-DE" dirty="0" err="1"/>
              <a:t>basics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 flipH="1">
            <a:off x="990610" y="5423903"/>
            <a:ext cx="23566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Aldo Lehner, Sursee </a:t>
            </a:r>
          </a:p>
        </p:txBody>
      </p:sp>
    </p:spTree>
    <p:extLst>
      <p:ext uri="{BB962C8B-B14F-4D97-AF65-F5344CB8AC3E}">
        <p14:creationId xmlns:p14="http://schemas.microsoft.com/office/powerpoint/2010/main" val="242068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F59F17-C595-49F0-946A-9ECD799D9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944CD-0B2F-40CF-9B0C-2E094086F136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FF5DFA-7372-4831-BAC5-BB713AB5A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C05117-161B-43A4-A78C-8B6C60B691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973015"/>
            <a:ext cx="3609115" cy="5756031"/>
          </a:xfrm>
        </p:spPr>
        <p:txBody>
          <a:bodyPr tIns="360000" anchor="t"/>
          <a:lstStyle/>
          <a:p>
            <a:r>
              <a:rPr lang="en-GB" dirty="0" err="1"/>
              <a:t>Inhalt</a:t>
            </a:r>
            <a:r>
              <a:rPr lang="en-GB" dirty="0"/>
              <a:t> des seminars: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0AB51-B233-47BF-BD52-F26E2A2CEB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6693" y="2404694"/>
            <a:ext cx="3072650" cy="4089767"/>
          </a:xfrm>
        </p:spPr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Grundlag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Textbearbeitu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Zeichen, Absätz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Gestaltung, Tabulator, Einzüg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Kopf-, Fusszeil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Grafische Objekte einfüg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2400" dirty="0"/>
              <a:t>Vorlag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a-DK" sz="24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F1571A-1F69-4535-B731-24E7D4D4B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58A026-5170-415D-91F5-A5B2E82471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47231" y="351674"/>
            <a:ext cx="1684407" cy="1407096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30ACDDB-370D-424D-BE41-08F77ED851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984" y="257009"/>
            <a:ext cx="1200150" cy="11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54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08D4B2-0EC9-40EF-AEF7-1829D374E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ie Kurszeiten sind: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1C6DBA-5574-4BB7-9799-FF708BB60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DC59E-6EDF-43EA-ADC1-60E7ECAEA6BA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3AFF6E-EA47-4F4C-A02B-E625273B4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9" name="Inhaltsplatzhalt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7361127"/>
              </p:ext>
            </p:extLst>
          </p:nvPr>
        </p:nvGraphicFramePr>
        <p:xfrm>
          <a:off x="4230112" y="273050"/>
          <a:ext cx="5111750" cy="58531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platzhalter 3"/>
          <p:cNvSpPr txBox="1">
            <a:spLocks/>
          </p:cNvSpPr>
          <p:nvPr/>
        </p:nvSpPr>
        <p:spPr>
          <a:xfrm>
            <a:off x="738232" y="1435100"/>
            <a:ext cx="3008313" cy="4691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/>
          </a:p>
          <a:p>
            <a:pPr lvl="0"/>
            <a:endParaRPr lang="de-CH" dirty="0"/>
          </a:p>
        </p:txBody>
      </p:sp>
      <p:pic>
        <p:nvPicPr>
          <p:cNvPr id="11" name="Picture 2" descr="C:\Documents and Settings\magy\Local Settings\Temporary Internet Files\Content.IE5\I0WY00ZQ\MCj04315860000[1]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66828" y="2357430"/>
            <a:ext cx="1828572" cy="1828572"/>
          </a:xfrm>
          <a:prstGeom prst="rect">
            <a:avLst/>
          </a:prstGeom>
          <a:noFill/>
        </p:spPr>
      </p:pic>
      <p:sp>
        <p:nvSpPr>
          <p:cNvPr id="12" name="Rechteck 11"/>
          <p:cNvSpPr/>
          <p:nvPr/>
        </p:nvSpPr>
        <p:spPr>
          <a:xfrm>
            <a:off x="1166828" y="5425875"/>
            <a:ext cx="28575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dirty="0"/>
              <a:t>…und dazwischen jeweils 20 Minuten Pause um ca.</a:t>
            </a:r>
          </a:p>
        </p:txBody>
      </p:sp>
      <p:sp>
        <p:nvSpPr>
          <p:cNvPr id="13" name="Abgerundetes Rechteck 12"/>
          <p:cNvSpPr/>
          <p:nvPr/>
        </p:nvSpPr>
        <p:spPr>
          <a:xfrm>
            <a:off x="4595852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10:00 Uhr</a:t>
            </a:r>
          </a:p>
        </p:txBody>
      </p:sp>
      <p:sp>
        <p:nvSpPr>
          <p:cNvPr id="14" name="Abgerundetes Rechteck 13"/>
          <p:cNvSpPr/>
          <p:nvPr/>
        </p:nvSpPr>
        <p:spPr>
          <a:xfrm>
            <a:off x="6453240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15:00 Uhr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8239190" y="5500702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20:00 Uhr</a:t>
            </a:r>
          </a:p>
        </p:txBody>
      </p:sp>
    </p:spTree>
    <p:extLst>
      <p:ext uri="{BB962C8B-B14F-4D97-AF65-F5344CB8AC3E}">
        <p14:creationId xmlns:p14="http://schemas.microsoft.com/office/powerpoint/2010/main" val="350704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P spid="12" grpId="0"/>
      <p:bldP spid="13" grpId="0" animBg="1"/>
      <p:bldP spid="14" grpId="0" animBg="1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1C6DBA-5574-4BB7-9799-FF708BB60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D321-C194-4A57-9196-04870A500ADE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3AFF6E-EA47-4F4C-A02B-E625273B4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A08D4B2-0EC9-40EF-AEF7-1829D374E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Verhalten im Brandfall:</a:t>
            </a:r>
          </a:p>
        </p:txBody>
      </p:sp>
      <p:pic>
        <p:nvPicPr>
          <p:cNvPr id="8" name="Brandschutz_V2_DEU_ENG_SPA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468248" y="1627013"/>
            <a:ext cx="7272338" cy="4090987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1160431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14F908-9433-430E-B573-D36B6156A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07C6E1-0CC7-434F-A580-34B91B9DAC5D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BA1FEE-5EB3-4F34-AB62-742A8535E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44AE534-E953-44C6-866C-A3EC525EF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Vorstellung der Teilnehmenden</a:t>
            </a:r>
          </a:p>
        </p:txBody>
      </p:sp>
      <p:pic>
        <p:nvPicPr>
          <p:cNvPr id="9" name="Bildplatzhalter 8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E97957B3-3BC4-47E3-9EBE-F5E2420C9E6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6" r="25006"/>
          <a:stretch>
            <a:fillRect/>
          </a:stretch>
        </p:blipFill>
        <p:spPr/>
      </p:pic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4194874" y="1485498"/>
            <a:ext cx="6767537" cy="479122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Sie heissen ….  und kommen von ……</a:t>
            </a:r>
            <a:br>
              <a:rPr lang="de-CH" dirty="0"/>
            </a:br>
            <a:endParaRPr lang="de-CH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Mit welcher Office Version haben Sie bis anhin gearbeitet?</a:t>
            </a:r>
            <a:br>
              <a:rPr lang="de-CH" dirty="0"/>
            </a:br>
            <a:endParaRPr lang="de-CH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Mit welchem Programm arbeiten Sie am Meisten </a:t>
            </a:r>
            <a:br>
              <a:rPr lang="de-CH" dirty="0"/>
            </a:br>
            <a:r>
              <a:rPr lang="de-CH" dirty="0"/>
              <a:t>im Office? (Word, Excel, PowerPoint oder Outlook)</a:t>
            </a:r>
            <a:br>
              <a:rPr lang="de-CH" dirty="0"/>
            </a:br>
            <a:endParaRPr lang="de-CH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CH" dirty="0"/>
              <a:t>Was erwarten Sie  …</a:t>
            </a:r>
          </a:p>
          <a:p>
            <a:pPr marL="1349375" lvl="1" indent="-342900">
              <a:buFont typeface="Arial" panose="020B0604020202020204" pitchFamily="34" charset="0"/>
              <a:buChar char="•"/>
            </a:pPr>
            <a:r>
              <a:rPr lang="de-CH" b="0" dirty="0"/>
              <a:t>… vom Seminar?</a:t>
            </a:r>
          </a:p>
          <a:p>
            <a:pPr marL="1349375" lvl="1" indent="-342900">
              <a:buFont typeface="Arial" panose="020B0604020202020204" pitchFamily="34" charset="0"/>
              <a:buChar char="•"/>
            </a:pPr>
            <a:r>
              <a:rPr lang="de-CH" b="0" dirty="0"/>
              <a:t>… von der Kursleitung?</a:t>
            </a:r>
          </a:p>
          <a:p>
            <a:pPr marL="1349375" lvl="1" indent="-342900">
              <a:buFont typeface="Arial" panose="020B0604020202020204" pitchFamily="34" charset="0"/>
              <a:buChar char="•"/>
            </a:pPr>
            <a:r>
              <a:rPr lang="de-CH" b="0" dirty="0"/>
              <a:t>… von den anderen </a:t>
            </a:r>
            <a:br>
              <a:rPr lang="de-CH" b="0" dirty="0"/>
            </a:br>
            <a:r>
              <a:rPr lang="de-CH" b="0" dirty="0"/>
              <a:t>     Teilnehmenden?</a:t>
            </a:r>
          </a:p>
        </p:txBody>
      </p:sp>
    </p:spTree>
    <p:extLst>
      <p:ext uri="{BB962C8B-B14F-4D97-AF65-F5344CB8AC3E}">
        <p14:creationId xmlns:p14="http://schemas.microsoft.com/office/powerpoint/2010/main" val="40328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80D196-0355-4A35-8868-56BD3B6E3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FF4B9-6475-40E1-BCDE-F661CA79FF47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E27DD8-BE8E-4874-A4E7-9B594069F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EA0C45A-BB39-46ED-92A9-0446CBC47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ragen?</a:t>
            </a:r>
          </a:p>
        </p:txBody>
      </p:sp>
      <p:pic>
        <p:nvPicPr>
          <p:cNvPr id="8" name="Bildplatzhalter 7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2E25F114-02F0-46D5-8725-4F3C8F1D9B3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69" b="24269"/>
          <a:stretch>
            <a:fillRect/>
          </a:stretch>
        </p:blipFill>
        <p:spPr/>
      </p:pic>
      <p:pic>
        <p:nvPicPr>
          <p:cNvPr id="7" name="Picture 4" descr="C:\Users\amrec0\AppData\Local\Microsoft\Windows\Temporary Internet Files\Content.IE5\8WIKTYL3\MC900433165[1].jp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776" y="4359019"/>
            <a:ext cx="3438680" cy="2159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513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82A8C4-0C2D-426B-9EF7-229CBD7C1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68F9A-FE58-4F01-A7DE-B097418149AD}" type="datetime4">
              <a:rPr lang="de-CH" smtClean="0"/>
              <a:t>25. Mai 2019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3C6618-D0B7-4F7A-AE83-A4CC783E6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1177F951-C9BE-45BC-8399-A34B2625C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Bildplatzhalter 9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C44AB234-2F78-4EC9-9410-6A0E7A1A2C8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53" b="11453"/>
          <a:stretch>
            <a:fillRect/>
          </a:stretch>
        </p:blipFill>
        <p:spPr/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4B10424-6EAA-4456-B4FF-7751E1E5A9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Lorem ipsum dolor sit amet, consectetuer adipiscing elit.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F10450D-EF0D-43BD-8FA6-3663EACBBF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9929" y="3861656"/>
            <a:ext cx="5502738" cy="2825728"/>
          </a:xfrm>
        </p:spPr>
        <p:txBody>
          <a:bodyPr/>
          <a:lstStyle/>
          <a:p>
            <a:pPr algn="ctr"/>
            <a:r>
              <a:rPr lang="en-GB" sz="4000" dirty="0" err="1"/>
              <a:t>Wir</a:t>
            </a:r>
            <a:r>
              <a:rPr lang="en-GB" sz="4000" dirty="0"/>
              <a:t> </a:t>
            </a:r>
            <a:r>
              <a:rPr lang="en-GB" sz="4000" dirty="0" err="1"/>
              <a:t>wünschen</a:t>
            </a:r>
            <a:r>
              <a:rPr lang="en-GB" sz="4000" dirty="0"/>
              <a:t> </a:t>
            </a:r>
            <a:r>
              <a:rPr lang="en-GB" sz="4000" dirty="0" err="1"/>
              <a:t>Ihnen</a:t>
            </a:r>
            <a:r>
              <a:rPr lang="en-GB" sz="4000" dirty="0"/>
              <a:t> </a:t>
            </a:r>
            <a:r>
              <a:rPr lang="en-GB" sz="4000" dirty="0" err="1"/>
              <a:t>viel</a:t>
            </a:r>
            <a:r>
              <a:rPr lang="en-GB" sz="4000" dirty="0"/>
              <a:t> </a:t>
            </a:r>
            <a:r>
              <a:rPr lang="en-GB" sz="4000" dirty="0" err="1"/>
              <a:t>Spass</a:t>
            </a:r>
            <a:r>
              <a:rPr lang="en-GB" sz="4000" dirty="0"/>
              <a:t> und </a:t>
            </a:r>
            <a:r>
              <a:rPr lang="en-GB" sz="4000" dirty="0" err="1"/>
              <a:t>Lernerfolg</a:t>
            </a:r>
            <a:r>
              <a:rPr lang="en-GB" sz="4000" dirty="0"/>
              <a:t> in </a:t>
            </a:r>
            <a:r>
              <a:rPr lang="en-GB" sz="4000" dirty="0" err="1"/>
              <a:t>diesem</a:t>
            </a:r>
            <a:r>
              <a:rPr lang="en-GB" sz="4000" dirty="0"/>
              <a:t> Seminar!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872727C-E285-4508-B9EF-7DABD1B4F5F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03029" y="3973312"/>
            <a:ext cx="3297831" cy="2008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812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EKGUID" val="aa100f7e-c8c6-4649-883c-228dfc36e83c"/>
  <p:tag name="MIO_UPDATE" val="True"/>
  <p:tag name="MIO_VERSION" val="05.11.2018 17:17:24"/>
  <p:tag name="MIO_DBID" val="E451C994-8A03-42B0-9A6A-1082179E3428"/>
  <p:tag name="MIO_LASTDOWNLOADED" val="05.11.2018 17:17:23"/>
  <p:tag name="MIO_OBJECTNAME" val="PPTX_Koordination Klubschulen_Präsentation_D_FW_05"/>
  <p:tag name="MIO_LASTEDITORNAME" val="LizardKing "/>
</p:tagLst>
</file>

<file path=ppt/theme/theme1.xml><?xml version="1.0" encoding="utf-8"?>
<a:theme xmlns:a="http://schemas.openxmlformats.org/drawingml/2006/main" name="Koordination Klubschulen_Business">
  <a:themeElements>
    <a:clrScheme name="klubschule_Busines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89CCC"/>
      </a:accent1>
      <a:accent2>
        <a:srgbClr val="7E5396"/>
      </a:accent2>
      <a:accent3>
        <a:srgbClr val="01A385"/>
      </a:accent3>
      <a:accent4>
        <a:srgbClr val="E06631"/>
      </a:accent4>
      <a:accent5>
        <a:srgbClr val="D2589C"/>
      </a:accent5>
      <a:accent6>
        <a:srgbClr val="950D33"/>
      </a:accent6>
      <a:hlink>
        <a:srgbClr val="0053A6"/>
      </a:hlink>
      <a:folHlink>
        <a:srgbClr val="728490"/>
      </a:folHlink>
    </a:clrScheme>
    <a:fontScheme name="Koordination Klubschul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Klub Gesundheit Grün">
      <a:srgbClr val="01A385"/>
    </a:custClr>
    <a:custClr name="Klub Ausbildende Violett">
      <a:srgbClr val="7E5396"/>
    </a:custClr>
    <a:custClr name="Klub Firmen Rot">
      <a:srgbClr val="950D33"/>
    </a:custClr>
    <a:custClr name="Klub Kreativität Orange">
      <a:srgbClr val="ED682F"/>
    </a:custClr>
    <a:custClr name="Klub Sprachen Rosa">
      <a:srgbClr val="D2589C"/>
    </a:custClr>
  </a:custClrLst>
  <a:extLst>
    <a:ext uri="{05A4C25C-085E-4340-85A3-A5531E510DB2}">
      <thm15:themeFamily xmlns:thm15="http://schemas.microsoft.com/office/thememl/2012/main" name="PPTX_Master_Business_DE.potx" id="{335B7CF8-E64A-4401-867C-B66A5C1D9015}" vid="{828F6F61-2C3C-49CB-8BDC-6CD990CC2AC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FDDB2BC0DCE34280C00C417EFB3832" ma:contentTypeVersion="4" ma:contentTypeDescription="Create a new document." ma:contentTypeScope="" ma:versionID="d580246d6d3f0b0fc5e8ed650ba5a939">
  <xsd:schema xmlns:xsd="http://www.w3.org/2001/XMLSchema" xmlns:xs="http://www.w3.org/2001/XMLSchema" xmlns:p="http://schemas.microsoft.com/office/2006/metadata/properties" xmlns:ns2="348c66f2-9c10-4f7c-8aee-4243b5d5f3d3" targetNamespace="http://schemas.microsoft.com/office/2006/metadata/properties" ma:root="true" ma:fieldsID="38b94d9fcafbd39bcb4ed210cf501f54" ns2:_="">
    <xsd:import namespace="348c66f2-9c10-4f7c-8aee-4243b5d5f3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8c66f2-9c10-4f7c-8aee-4243b5d5f3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50BEE65-7A1D-44B8-BFF9-E37503310788}">
  <ds:schemaRefs>
    <ds:schemaRef ds:uri="http://purl.org/dc/elements/1.1/"/>
    <ds:schemaRef ds:uri="http://schemas.microsoft.com/office/2006/metadata/properties"/>
    <ds:schemaRef ds:uri="348c66f2-9c10-4f7c-8aee-4243b5d5f3d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67466B4-E8C1-455D-8A1D-AA7A000E0E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4C620FD-466B-4DEE-A545-C2DF14C0FD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8c66f2-9c10-4f7c-8aee-4243b5d5f3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X_Master_Business_DE (1)</Template>
  <TotalTime>0</TotalTime>
  <Words>118</Words>
  <Application>Microsoft Office PowerPoint</Application>
  <PresentationFormat>Breitbild</PresentationFormat>
  <Paragraphs>59</Paragraphs>
  <Slides>7</Slides>
  <Notes>0</Notes>
  <HiddenSlides>0</HiddenSlides>
  <MMClips>1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Arial</vt:lpstr>
      <vt:lpstr>Calibri</vt:lpstr>
      <vt:lpstr>Symbol</vt:lpstr>
      <vt:lpstr>Wingdings</vt:lpstr>
      <vt:lpstr>Koordination Klubschulen_Business</vt:lpstr>
      <vt:lpstr>word basics</vt:lpstr>
      <vt:lpstr>PowerPoint-Präsentation</vt:lpstr>
      <vt:lpstr>Die Kurszeiten sind:</vt:lpstr>
      <vt:lpstr>Verhalten im Brandfall:</vt:lpstr>
      <vt:lpstr>Vorstellung der Teilnehmenden</vt:lpstr>
      <vt:lpstr>Fragen?</vt:lpstr>
      <vt:lpstr>PowerPoint-Präsentation</vt:lpstr>
    </vt:vector>
  </TitlesOfParts>
  <Company>Bénédic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 sit amet, consectetuer adipiscing elit.</dc:title>
  <dc:creator>Free Benedict</dc:creator>
  <cp:lastModifiedBy>Aldo Lehner</cp:lastModifiedBy>
  <cp:revision>12</cp:revision>
  <dcterms:created xsi:type="dcterms:W3CDTF">2019-05-06T15:58:18Z</dcterms:created>
  <dcterms:modified xsi:type="dcterms:W3CDTF">2019-05-25T13:59:23Z</dcterms:modified>
  <cp:category>Öffentlich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FDDB2BC0DCE34280C00C417EFB3832</vt:lpwstr>
  </property>
  <property fmtid="{D5CDD505-2E9C-101B-9397-08002B2CF9AE}" pid="3" name="AuthorIds_UIVersion_512">
    <vt:lpwstr>12</vt:lpwstr>
  </property>
</Properties>
</file>